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185" r:id="rId4"/>
  </p:sldMasterIdLst>
  <p:notesMasterIdLst>
    <p:notesMasterId r:id="rId6"/>
  </p:notesMasterIdLst>
  <p:handoutMasterIdLst>
    <p:handoutMasterId r:id="rId7"/>
  </p:handoutMasterIdLst>
  <p:sldIdLst>
    <p:sldId id="283" r:id="rId5"/>
  </p:sldIdLst>
  <p:sldSz cx="12192000" cy="6858000"/>
  <p:notesSz cx="6950075" cy="9236075"/>
  <p:custShowLst>
    <p:custShow name="Format Guide Workshop" id="0">
      <p:sldLst/>
    </p:custShow>
  </p:custShowLst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0890F"/>
    <a:srgbClr val="EEEAD9"/>
    <a:srgbClr val="EEEAD8"/>
    <a:srgbClr val="F46C2F"/>
    <a:srgbClr val="008EC8"/>
    <a:srgbClr val="2B398A"/>
    <a:srgbClr val="FBC4AD"/>
    <a:srgbClr val="31EA93"/>
    <a:srgbClr val="2FDF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702AE5-130B-B9FD-5CDA-360B7372CE7E}" v="31" dt="2025-10-22T12:10:03.454"/>
    <p1510:client id="{12576900-34CC-1843-8A28-1296E54806A7}" v="9073" dt="2025-10-22T22:42:04.241"/>
    <p1510:client id="{35BA1527-F666-4FDC-8E8D-3EE24AD44548}" v="549" dt="2025-10-22T15:15:02.827"/>
    <p1510:client id="{7179C694-B260-D74E-A5F9-D3E348295AD5}" v="37460" dt="2025-10-22T14:33:10.825"/>
    <p1510:client id="{C2F8136C-D5CD-0A49-9EDB-6B8950D195CA}" v="2693" dt="2025-10-22T14:58:51.562"/>
    <p1510:client id="{E67E8D44-118B-45EF-B6C3-5FD768BF2679}" v="3310" dt="2025-10-22T12:26:09.6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947"/>
    <p:restoredTop sz="94676"/>
  </p:normalViewPr>
  <p:slideViewPr>
    <p:cSldViewPr snapToGrid="0">
      <p:cViewPr varScale="1">
        <p:scale>
          <a:sx n="70" d="100"/>
          <a:sy n="70" d="100"/>
        </p:scale>
        <p:origin x="208" y="9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>
              <a:latin typeface="Lato" panose="020F050202020403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>
                <a:latin typeface="Lato" panose="020F0502020204030203" pitchFamily="34" charset="0"/>
              </a:rPr>
              <a:t>10/24/25</a:t>
            </a:fld>
            <a:endParaRPr lang="en-US" sz="800">
              <a:latin typeface="Lato" panose="020F050202020403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>
              <a:latin typeface="Lato" panose="020F050202020403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>
                <a:latin typeface="Lato" panose="020F0502020204030203" pitchFamily="34" charset="0"/>
              </a:rPr>
              <a:t>‹#›</a:t>
            </a:fld>
            <a:endParaRPr lang="en-US" sz="800"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Lato" panose="020F0502020204030203" pitchFamily="34" charset="0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</a:defRPr>
            </a:lvl1pPr>
          </a:lstStyle>
          <a:p>
            <a:endParaRPr lang="en-US">
              <a:latin typeface="Lato" panose="020F0502020204030203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>
              <a:latin typeface="Lato" panose="020F0502020204030203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</a:defRPr>
            </a:lvl1pPr>
          </a:lstStyle>
          <a:p>
            <a:endParaRPr lang="en-US">
              <a:latin typeface="Lato" panose="020F0502020204030203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</a:defRPr>
            </a:lvl1pPr>
          </a:lstStyle>
          <a:p>
            <a:r>
              <a:rPr lang="en-US">
                <a:latin typeface="Lato" panose="020F0502020204030203" pitchFamily="34" charset="0"/>
              </a:rPr>
              <a:t>Notes view: </a:t>
            </a:r>
            <a:fld id="{128CEAFE-FA94-43E5-B0FF-D47E1CCDD1B4}" type="slidenum">
              <a:rPr lang="en-US" smtClean="0">
                <a:latin typeface="Lato" panose="020F0502020204030203" pitchFamily="34" charset="0"/>
              </a:rPr>
              <a:pPr/>
              <a:t>‹#›</a:t>
            </a:fld>
            <a:endParaRPr lang="en-US">
              <a:latin typeface="Lato" panose="020F0502020204030203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F2C7CF5F-7CF3-4DF3-838A-EE34544862CC}" type="datetimeFigureOut">
              <a:rPr lang="en-US" smtClean="0">
                <a:latin typeface="Lato" panose="020F0502020204030203" pitchFamily="34" charset="0"/>
              </a:rPr>
              <a:pPr/>
              <a:t>10/24/25</a:t>
            </a:fld>
            <a:endParaRPr lang="en-US"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Lato" panose="020F0502020204030203" pitchFamily="34" charset="0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Lato" panose="020F0502020204030203" pitchFamily="34" charset="0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Lato" panose="020F0502020204030203" pitchFamily="34" charset="0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Lato" panose="020F0502020204030203" pitchFamily="34" charset="0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Lato" panose="020F050202020403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Lato" panose="020F0502020204030203" pitchFamily="34" charset="0"/>
              </a:rPr>
              <a:t>Notes view: </a:t>
            </a:r>
            <a:fld id="{128CEAFE-FA94-43E5-B0FF-D47E1CCDD1B4}" type="slidenum">
              <a:rPr lang="en-US" smtClean="0">
                <a:latin typeface="Lato" panose="020F0502020204030203" pitchFamily="34" charset="0"/>
              </a:rPr>
              <a:pPr/>
              <a:t>1</a:t>
            </a:fld>
            <a:endParaRPr lang="en-US"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74269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8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10" Type="http://schemas.microsoft.com/office/2007/relationships/hdphoto" Target="../media/hdphoto1.wdp"/><Relationship Id="rId4" Type="http://schemas.openxmlformats.org/officeDocument/2006/relationships/tags" Target="../tags/tag9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5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6.xml"/><Relationship Id="rId7" Type="http://schemas.openxmlformats.org/officeDocument/2006/relationships/image" Target="../media/image4.pn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3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3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4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1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5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6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5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6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15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27.xml"/><Relationship Id="rId7" Type="http://schemas.openxmlformats.org/officeDocument/2006/relationships/image" Target="../media/image4.png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6.png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6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6.png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47.xml"/><Relationship Id="rId7" Type="http://schemas.openxmlformats.org/officeDocument/2006/relationships/image" Target="../media/image16.jp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50.xml"/><Relationship Id="rId7" Type="http://schemas.openxmlformats.org/officeDocument/2006/relationships/image" Target="../media/image17.jpg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1.xml"/></Relationships>
</file>

<file path=ppt/slideLayouts/_rels/slideLayout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8989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9">
            <a:extLst>
              <a:ext uri="{FF2B5EF4-FFF2-40B4-BE49-F238E27FC236}">
                <a16:creationId xmlns:a16="http://schemas.microsoft.com/office/drawing/2014/main" id="{F614FD26-CE77-4CB0-BD53-8B57AFD920EE}"/>
              </a:ext>
            </a:extLst>
          </p:cNvPr>
          <p:cNvSpPr/>
          <p:nvPr userDrawn="1"/>
        </p:nvSpPr>
        <p:spPr>
          <a:xfrm>
            <a:off x="6568002" y="2555319"/>
            <a:ext cx="5623999" cy="4301730"/>
          </a:xfrm>
          <a:custGeom>
            <a:avLst/>
            <a:gdLst>
              <a:gd name="connsiteX0" fmla="*/ 2662087 w 5629278"/>
              <a:gd name="connsiteY0" fmla="*/ 308210 h 4306104"/>
              <a:gd name="connsiteX1" fmla="*/ 1172767 w 5629278"/>
              <a:gd name="connsiteY1" fmla="*/ 308210 h 4306104"/>
              <a:gd name="connsiteX2" fmla="*/ 0 w 5629278"/>
              <a:gd name="connsiteY2" fmla="*/ 1480976 h 4306104"/>
              <a:gd name="connsiteX3" fmla="*/ 1489320 w 5629278"/>
              <a:gd name="connsiteY3" fmla="*/ 1480976 h 4306104"/>
              <a:gd name="connsiteX4" fmla="*/ 4314446 w 5629278"/>
              <a:gd name="connsiteY4" fmla="*/ 4306105 h 4306104"/>
              <a:gd name="connsiteX5" fmla="*/ 5629279 w 5629278"/>
              <a:gd name="connsiteY5" fmla="*/ 4306105 h 4306104"/>
              <a:gd name="connsiteX6" fmla="*/ 5629279 w 5629278"/>
              <a:gd name="connsiteY6" fmla="*/ 3275404 h 4306104"/>
              <a:gd name="connsiteX7" fmla="*/ 2661132 w 5629278"/>
              <a:gd name="connsiteY7" fmla="*/ 307255 h 430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29278" h="4306104">
                <a:moveTo>
                  <a:pt x="2662087" y="308210"/>
                </a:moveTo>
                <a:cubicBezTo>
                  <a:pt x="2251141" y="-102737"/>
                  <a:pt x="1584667" y="-102737"/>
                  <a:pt x="1172767" y="308210"/>
                </a:cubicBezTo>
                <a:lnTo>
                  <a:pt x="0" y="1480976"/>
                </a:lnTo>
                <a:cubicBezTo>
                  <a:pt x="410946" y="1070030"/>
                  <a:pt x="1077420" y="1070030"/>
                  <a:pt x="1489320" y="1480976"/>
                </a:cubicBezTo>
                <a:lnTo>
                  <a:pt x="4314446" y="4306105"/>
                </a:lnTo>
                <a:lnTo>
                  <a:pt x="5629279" y="4306105"/>
                </a:lnTo>
                <a:lnTo>
                  <a:pt x="5629279" y="3275404"/>
                </a:lnTo>
                <a:lnTo>
                  <a:pt x="2661132" y="307255"/>
                </a:lnTo>
                <a:close/>
              </a:path>
            </a:pathLst>
          </a:custGeom>
          <a:gradFill>
            <a:gsLst>
              <a:gs pos="100000">
                <a:srgbClr val="262851"/>
              </a:gs>
              <a:gs pos="0">
                <a:srgbClr val="D16636"/>
              </a:gs>
            </a:gsLst>
            <a:lin ang="5400000" scaled="0"/>
          </a:gradFill>
          <a:ln w="9534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000000"/>
              </a:solidFill>
              <a:latin typeface="Lato" panose="020F0502020204030203" pitchFamily="34" charset="0"/>
            </a:endParaRPr>
          </a:p>
        </p:txBody>
      </p:sp>
      <p:pic>
        <p:nvPicPr>
          <p:cNvPr id="16" name="Picture 4" descr="C&amp;A">
            <a:extLst>
              <a:ext uri="{FF2B5EF4-FFF2-40B4-BE49-F238E27FC236}">
                <a16:creationId xmlns:a16="http://schemas.microsoft.com/office/drawing/2014/main" id="{49718228-2474-42D8-A54F-FDD9CB30A1F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772" y="4900455"/>
            <a:ext cx="1338420" cy="1338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F22951B-D417-4BFF-AB46-729BC614F3CF}"/>
              </a:ext>
            </a:extLst>
          </p:cNvPr>
          <p:cNvSpPr/>
          <p:nvPr userDrawn="1"/>
        </p:nvSpPr>
        <p:spPr>
          <a:xfrm>
            <a:off x="7774288" y="0"/>
            <a:ext cx="4417712" cy="6858000"/>
          </a:xfrm>
          <a:custGeom>
            <a:avLst/>
            <a:gdLst>
              <a:gd name="connsiteX0" fmla="*/ 951901 w 4417712"/>
              <a:gd name="connsiteY0" fmla="*/ 0 h 6858000"/>
              <a:gd name="connsiteX1" fmla="*/ 4417712 w 4417712"/>
              <a:gd name="connsiteY1" fmla="*/ 0 h 6858000"/>
              <a:gd name="connsiteX2" fmla="*/ 4417712 w 4417712"/>
              <a:gd name="connsiteY2" fmla="*/ 6846805 h 6858000"/>
              <a:gd name="connsiteX3" fmla="*/ 4325080 w 4417712"/>
              <a:gd name="connsiteY3" fmla="*/ 6858000 h 6858000"/>
              <a:gd name="connsiteX4" fmla="*/ 3405974 w 4417712"/>
              <a:gd name="connsiteY4" fmla="*/ 6858000 h 6858000"/>
              <a:gd name="connsiteX5" fmla="*/ 3347254 w 4417712"/>
              <a:gd name="connsiteY5" fmla="*/ 6836020 h 6858000"/>
              <a:gd name="connsiteX6" fmla="*/ 3058885 w 4417712"/>
              <a:gd name="connsiteY6" fmla="*/ 6630666 h 6858000"/>
              <a:gd name="connsiteX7" fmla="*/ 2770047 w 4417712"/>
              <a:gd name="connsiteY7" fmla="*/ 6306683 h 6858000"/>
              <a:gd name="connsiteX8" fmla="*/ 1927342 w 4417712"/>
              <a:gd name="connsiteY8" fmla="*/ 5756091 h 6858000"/>
              <a:gd name="connsiteX9" fmla="*/ 1506744 w 4417712"/>
              <a:gd name="connsiteY9" fmla="*/ 5630882 h 6858000"/>
              <a:gd name="connsiteX10" fmla="*/ 844672 w 4417712"/>
              <a:gd name="connsiteY10" fmla="*/ 4926486 h 6858000"/>
              <a:gd name="connsiteX11" fmla="*/ 761535 w 4417712"/>
              <a:gd name="connsiteY11" fmla="*/ 4444543 h 6858000"/>
              <a:gd name="connsiteX12" fmla="*/ 432263 w 4417712"/>
              <a:gd name="connsiteY12" fmla="*/ 3539863 h 6858000"/>
              <a:gd name="connsiteX13" fmla="*/ 125667 w 4417712"/>
              <a:gd name="connsiteY13" fmla="*/ 3072533 h 6858000"/>
              <a:gd name="connsiteX14" fmla="*/ 115461 w 4417712"/>
              <a:gd name="connsiteY14" fmla="*/ 2145178 h 6858000"/>
              <a:gd name="connsiteX15" fmla="*/ 374823 w 4417712"/>
              <a:gd name="connsiteY15" fmla="*/ 1744989 h 6858000"/>
              <a:gd name="connsiteX16" fmla="*/ 727398 w 4417712"/>
              <a:gd name="connsiteY16" fmla="*/ 955943 h 6858000"/>
              <a:gd name="connsiteX17" fmla="*/ 823888 w 4417712"/>
              <a:gd name="connsiteY17" fmla="*/ 361389 h 6858000"/>
              <a:gd name="connsiteX18" fmla="*/ 905732 w 4417712"/>
              <a:gd name="connsiteY18" fmla="*/ 870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417712" h="6858000">
                <a:moveTo>
                  <a:pt x="951901" y="0"/>
                </a:moveTo>
                <a:lnTo>
                  <a:pt x="4417712" y="0"/>
                </a:lnTo>
                <a:lnTo>
                  <a:pt x="4417712" y="6846805"/>
                </a:lnTo>
                <a:lnTo>
                  <a:pt x="4325080" y="6858000"/>
                </a:lnTo>
                <a:lnTo>
                  <a:pt x="3405974" y="6858000"/>
                </a:lnTo>
                <a:lnTo>
                  <a:pt x="3347254" y="6836020"/>
                </a:lnTo>
                <a:cubicBezTo>
                  <a:pt x="3243722" y="6789582"/>
                  <a:pt x="3147123" y="6722258"/>
                  <a:pt x="3058885" y="6630666"/>
                </a:cubicBezTo>
                <a:cubicBezTo>
                  <a:pt x="2958491" y="6526492"/>
                  <a:pt x="2861749" y="6418414"/>
                  <a:pt x="2770047" y="6306683"/>
                </a:cubicBezTo>
                <a:cubicBezTo>
                  <a:pt x="2546711" y="6033843"/>
                  <a:pt x="2270722" y="5845274"/>
                  <a:pt x="1927342" y="5756091"/>
                </a:cubicBezTo>
                <a:cubicBezTo>
                  <a:pt x="1785882" y="5719435"/>
                  <a:pt x="1646061" y="5675600"/>
                  <a:pt x="1506744" y="5630882"/>
                </a:cubicBezTo>
                <a:cubicBezTo>
                  <a:pt x="1156436" y="5518647"/>
                  <a:pt x="923400" y="5292665"/>
                  <a:pt x="844672" y="4926486"/>
                </a:cubicBezTo>
                <a:cubicBezTo>
                  <a:pt x="810284" y="4767266"/>
                  <a:pt x="782949" y="4606030"/>
                  <a:pt x="761535" y="4444543"/>
                </a:cubicBezTo>
                <a:cubicBezTo>
                  <a:pt x="718078" y="4118168"/>
                  <a:pt x="625746" y="3811948"/>
                  <a:pt x="432263" y="3539863"/>
                </a:cubicBezTo>
                <a:cubicBezTo>
                  <a:pt x="324187" y="3388075"/>
                  <a:pt x="213841" y="3235910"/>
                  <a:pt x="125667" y="3072533"/>
                </a:cubicBezTo>
                <a:cubicBezTo>
                  <a:pt x="-37964" y="2769083"/>
                  <a:pt x="-42247" y="2452659"/>
                  <a:pt x="115461" y="2145178"/>
                </a:cubicBezTo>
                <a:cubicBezTo>
                  <a:pt x="187765" y="2004476"/>
                  <a:pt x="282366" y="1874228"/>
                  <a:pt x="374823" y="1744989"/>
                </a:cubicBezTo>
                <a:cubicBezTo>
                  <a:pt x="546388" y="1505402"/>
                  <a:pt x="682177" y="1251709"/>
                  <a:pt x="727398" y="955943"/>
                </a:cubicBezTo>
                <a:cubicBezTo>
                  <a:pt x="757756" y="757549"/>
                  <a:pt x="788869" y="559154"/>
                  <a:pt x="823888" y="361389"/>
                </a:cubicBezTo>
                <a:cubicBezTo>
                  <a:pt x="841586" y="261719"/>
                  <a:pt x="868779" y="170174"/>
                  <a:pt x="905732" y="87039"/>
                </a:cubicBezTo>
                <a:close/>
              </a:path>
            </a:pathLst>
          </a:custGeom>
          <a:solidFill>
            <a:srgbClr val="EEEA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Lato" panose="020F050202020403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C27854-26E2-48C3-B39D-FA73B137BCA3}"/>
              </a:ext>
            </a:extLst>
          </p:cNvPr>
          <p:cNvSpPr/>
          <p:nvPr userDrawn="1"/>
        </p:nvSpPr>
        <p:spPr>
          <a:xfrm>
            <a:off x="672656" y="1576685"/>
            <a:ext cx="4624921" cy="463440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id-ID" kern="0">
              <a:solidFill>
                <a:prstClr val="white"/>
              </a:solidFill>
              <a:latin typeface="Lato" panose="020F050202020403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4E54AA8-2DA5-4FF5-B455-E1181F77B9EA}"/>
              </a:ext>
            </a:extLst>
          </p:cNvPr>
          <p:cNvSpPr/>
          <p:nvPr userDrawn="1"/>
        </p:nvSpPr>
        <p:spPr>
          <a:xfrm>
            <a:off x="1048180" y="1272059"/>
            <a:ext cx="5096588" cy="2763907"/>
          </a:xfrm>
          <a:prstGeom prst="rect">
            <a:avLst/>
          </a:prstGeom>
          <a:noFill/>
          <a:ln w="76200" cap="flat" cmpd="sng" algn="ctr">
            <a:solidFill>
              <a:srgbClr val="EEEAD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Lato" panose="020F0502020204030203" pitchFamily="34" charset="0"/>
            </a:endParaRPr>
          </a:p>
        </p:txBody>
      </p:sp>
      <p:sp>
        <p:nvSpPr>
          <p:cNvPr id="25" name="Freeform 8">
            <a:extLst>
              <a:ext uri="{FF2B5EF4-FFF2-40B4-BE49-F238E27FC236}">
                <a16:creationId xmlns:a16="http://schemas.microsoft.com/office/drawing/2014/main" id="{746E55D2-2007-4103-8F89-FC930325FBF1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322705" y="5425500"/>
            <a:ext cx="1860368" cy="388818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1C1C1C"/>
              </a:solidFill>
              <a:latin typeface="Lato" panose="020F0502020204030203" pitchFamily="34" charset="0"/>
            </a:endParaRPr>
          </a:p>
        </p:txBody>
      </p:sp>
      <p:pic>
        <p:nvPicPr>
          <p:cNvPr id="28" name="Picture 4" descr="C&amp;A">
            <a:extLst>
              <a:ext uri="{FF2B5EF4-FFF2-40B4-BE49-F238E27FC236}">
                <a16:creationId xmlns:a16="http://schemas.microsoft.com/office/drawing/2014/main" id="{40921355-EAC2-4E7A-BF73-5C111AC6FF2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7325" y="4934397"/>
            <a:ext cx="1371024" cy="137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EAA42CEA-D599-4C41-BB57-7D32D45B9BBA}"/>
              </a:ext>
            </a:extLst>
          </p:cNvPr>
          <p:cNvSpPr/>
          <p:nvPr userDrawn="1"/>
        </p:nvSpPr>
        <p:spPr>
          <a:xfrm>
            <a:off x="7291686" y="-134773"/>
            <a:ext cx="3344014" cy="7248730"/>
          </a:xfrm>
          <a:custGeom>
            <a:avLst/>
            <a:gdLst>
              <a:gd name="connsiteX0" fmla="*/ 1003546 w 4811413"/>
              <a:gd name="connsiteY0" fmla="*/ 0 h 7294247"/>
              <a:gd name="connsiteX1" fmla="*/ 4811413 w 4811413"/>
              <a:gd name="connsiteY1" fmla="*/ 0 h 7294247"/>
              <a:gd name="connsiteX2" fmla="*/ 4811413 w 4811413"/>
              <a:gd name="connsiteY2" fmla="*/ 7199660 h 7294247"/>
              <a:gd name="connsiteX3" fmla="*/ 4476359 w 4811413"/>
              <a:gd name="connsiteY3" fmla="*/ 7240154 h 7294247"/>
              <a:gd name="connsiteX4" fmla="*/ 4128541 w 4811413"/>
              <a:gd name="connsiteY4" fmla="*/ 7284692 h 7294247"/>
              <a:gd name="connsiteX5" fmla="*/ 3224843 w 4811413"/>
              <a:gd name="connsiteY5" fmla="*/ 6990409 h 7294247"/>
              <a:gd name="connsiteX6" fmla="*/ 2920334 w 4811413"/>
              <a:gd name="connsiteY6" fmla="*/ 6648849 h 7294247"/>
              <a:gd name="connsiteX7" fmla="*/ 2031909 w 4811413"/>
              <a:gd name="connsiteY7" fmla="*/ 6068385 h 7294247"/>
              <a:gd name="connsiteX8" fmla="*/ 1588491 w 4811413"/>
              <a:gd name="connsiteY8" fmla="*/ 5936383 h 7294247"/>
              <a:gd name="connsiteX9" fmla="*/ 890499 w 4811413"/>
              <a:gd name="connsiteY9" fmla="*/ 5193770 h 7294247"/>
              <a:gd name="connsiteX10" fmla="*/ 802852 w 4811413"/>
              <a:gd name="connsiteY10" fmla="*/ 4685680 h 7294247"/>
              <a:gd name="connsiteX11" fmla="*/ 455715 w 4811413"/>
              <a:gd name="connsiteY11" fmla="*/ 3731917 h 7294247"/>
              <a:gd name="connsiteX12" fmla="*/ 132484 w 4811413"/>
              <a:gd name="connsiteY12" fmla="*/ 3239232 h 7294247"/>
              <a:gd name="connsiteX13" fmla="*/ 121726 w 4811413"/>
              <a:gd name="connsiteY13" fmla="*/ 2261564 h 7294247"/>
              <a:gd name="connsiteX14" fmla="*/ 395160 w 4811413"/>
              <a:gd name="connsiteY14" fmla="*/ 1839663 h 7294247"/>
              <a:gd name="connsiteX15" fmla="*/ 766863 w 4811413"/>
              <a:gd name="connsiteY15" fmla="*/ 1007807 h 7294247"/>
              <a:gd name="connsiteX16" fmla="*/ 868588 w 4811413"/>
              <a:gd name="connsiteY16" fmla="*/ 380996 h 7294247"/>
              <a:gd name="connsiteX17" fmla="*/ 954873 w 4811413"/>
              <a:gd name="connsiteY17" fmla="*/ 91761 h 7294247"/>
              <a:gd name="connsiteX0" fmla="*/ 4811413 w 4899594"/>
              <a:gd name="connsiteY0" fmla="*/ 0 h 7294247"/>
              <a:gd name="connsiteX1" fmla="*/ 4811413 w 4899594"/>
              <a:gd name="connsiteY1" fmla="*/ 7199660 h 7294247"/>
              <a:gd name="connsiteX2" fmla="*/ 4476359 w 4899594"/>
              <a:gd name="connsiteY2" fmla="*/ 7240154 h 7294247"/>
              <a:gd name="connsiteX3" fmla="*/ 4128541 w 4899594"/>
              <a:gd name="connsiteY3" fmla="*/ 7284692 h 7294247"/>
              <a:gd name="connsiteX4" fmla="*/ 3224843 w 4899594"/>
              <a:gd name="connsiteY4" fmla="*/ 6990409 h 7294247"/>
              <a:gd name="connsiteX5" fmla="*/ 2920334 w 4899594"/>
              <a:gd name="connsiteY5" fmla="*/ 6648849 h 7294247"/>
              <a:gd name="connsiteX6" fmla="*/ 2031909 w 4899594"/>
              <a:gd name="connsiteY6" fmla="*/ 6068385 h 7294247"/>
              <a:gd name="connsiteX7" fmla="*/ 1588491 w 4899594"/>
              <a:gd name="connsiteY7" fmla="*/ 5936383 h 7294247"/>
              <a:gd name="connsiteX8" fmla="*/ 890499 w 4899594"/>
              <a:gd name="connsiteY8" fmla="*/ 5193770 h 7294247"/>
              <a:gd name="connsiteX9" fmla="*/ 802852 w 4899594"/>
              <a:gd name="connsiteY9" fmla="*/ 4685680 h 7294247"/>
              <a:gd name="connsiteX10" fmla="*/ 455715 w 4899594"/>
              <a:gd name="connsiteY10" fmla="*/ 3731917 h 7294247"/>
              <a:gd name="connsiteX11" fmla="*/ 132484 w 4899594"/>
              <a:gd name="connsiteY11" fmla="*/ 3239232 h 7294247"/>
              <a:gd name="connsiteX12" fmla="*/ 121726 w 4899594"/>
              <a:gd name="connsiteY12" fmla="*/ 2261564 h 7294247"/>
              <a:gd name="connsiteX13" fmla="*/ 395160 w 4899594"/>
              <a:gd name="connsiteY13" fmla="*/ 1839663 h 7294247"/>
              <a:gd name="connsiteX14" fmla="*/ 766863 w 4899594"/>
              <a:gd name="connsiteY14" fmla="*/ 1007807 h 7294247"/>
              <a:gd name="connsiteX15" fmla="*/ 868588 w 4899594"/>
              <a:gd name="connsiteY15" fmla="*/ 380996 h 7294247"/>
              <a:gd name="connsiteX16" fmla="*/ 954873 w 4899594"/>
              <a:gd name="connsiteY16" fmla="*/ 91761 h 7294247"/>
              <a:gd name="connsiteX17" fmla="*/ 1003546 w 4899594"/>
              <a:gd name="connsiteY17" fmla="*/ 0 h 7294247"/>
              <a:gd name="connsiteX18" fmla="*/ 4899594 w 4899594"/>
              <a:gd name="connsiteY18" fmla="*/ 88181 h 7294247"/>
              <a:gd name="connsiteX0" fmla="*/ 4811413 w 4811413"/>
              <a:gd name="connsiteY0" fmla="*/ 0 h 7294247"/>
              <a:gd name="connsiteX1" fmla="*/ 4811413 w 4811413"/>
              <a:gd name="connsiteY1" fmla="*/ 7199660 h 7294247"/>
              <a:gd name="connsiteX2" fmla="*/ 4476359 w 4811413"/>
              <a:gd name="connsiteY2" fmla="*/ 7240154 h 7294247"/>
              <a:gd name="connsiteX3" fmla="*/ 4128541 w 4811413"/>
              <a:gd name="connsiteY3" fmla="*/ 7284692 h 7294247"/>
              <a:gd name="connsiteX4" fmla="*/ 3224843 w 4811413"/>
              <a:gd name="connsiteY4" fmla="*/ 6990409 h 7294247"/>
              <a:gd name="connsiteX5" fmla="*/ 2920334 w 4811413"/>
              <a:gd name="connsiteY5" fmla="*/ 6648849 h 7294247"/>
              <a:gd name="connsiteX6" fmla="*/ 2031909 w 4811413"/>
              <a:gd name="connsiteY6" fmla="*/ 6068385 h 7294247"/>
              <a:gd name="connsiteX7" fmla="*/ 1588491 w 4811413"/>
              <a:gd name="connsiteY7" fmla="*/ 5936383 h 7294247"/>
              <a:gd name="connsiteX8" fmla="*/ 890499 w 4811413"/>
              <a:gd name="connsiteY8" fmla="*/ 5193770 h 7294247"/>
              <a:gd name="connsiteX9" fmla="*/ 802852 w 4811413"/>
              <a:gd name="connsiteY9" fmla="*/ 4685680 h 7294247"/>
              <a:gd name="connsiteX10" fmla="*/ 455715 w 4811413"/>
              <a:gd name="connsiteY10" fmla="*/ 3731917 h 7294247"/>
              <a:gd name="connsiteX11" fmla="*/ 132484 w 4811413"/>
              <a:gd name="connsiteY11" fmla="*/ 3239232 h 7294247"/>
              <a:gd name="connsiteX12" fmla="*/ 121726 w 4811413"/>
              <a:gd name="connsiteY12" fmla="*/ 2261564 h 7294247"/>
              <a:gd name="connsiteX13" fmla="*/ 395160 w 4811413"/>
              <a:gd name="connsiteY13" fmla="*/ 1839663 h 7294247"/>
              <a:gd name="connsiteX14" fmla="*/ 766863 w 4811413"/>
              <a:gd name="connsiteY14" fmla="*/ 1007807 h 7294247"/>
              <a:gd name="connsiteX15" fmla="*/ 868588 w 4811413"/>
              <a:gd name="connsiteY15" fmla="*/ 380996 h 7294247"/>
              <a:gd name="connsiteX16" fmla="*/ 954873 w 4811413"/>
              <a:gd name="connsiteY16" fmla="*/ 91761 h 7294247"/>
              <a:gd name="connsiteX17" fmla="*/ 1003546 w 4811413"/>
              <a:gd name="connsiteY17" fmla="*/ 0 h 7294247"/>
              <a:gd name="connsiteX0" fmla="*/ 4811413 w 4811413"/>
              <a:gd name="connsiteY0" fmla="*/ 7199660 h 7294247"/>
              <a:gd name="connsiteX1" fmla="*/ 4476359 w 4811413"/>
              <a:gd name="connsiteY1" fmla="*/ 7240154 h 7294247"/>
              <a:gd name="connsiteX2" fmla="*/ 4128541 w 4811413"/>
              <a:gd name="connsiteY2" fmla="*/ 7284692 h 7294247"/>
              <a:gd name="connsiteX3" fmla="*/ 3224843 w 4811413"/>
              <a:gd name="connsiteY3" fmla="*/ 6990409 h 7294247"/>
              <a:gd name="connsiteX4" fmla="*/ 2920334 w 4811413"/>
              <a:gd name="connsiteY4" fmla="*/ 6648849 h 7294247"/>
              <a:gd name="connsiteX5" fmla="*/ 2031909 w 4811413"/>
              <a:gd name="connsiteY5" fmla="*/ 6068385 h 7294247"/>
              <a:gd name="connsiteX6" fmla="*/ 1588491 w 4811413"/>
              <a:gd name="connsiteY6" fmla="*/ 5936383 h 7294247"/>
              <a:gd name="connsiteX7" fmla="*/ 890499 w 4811413"/>
              <a:gd name="connsiteY7" fmla="*/ 5193770 h 7294247"/>
              <a:gd name="connsiteX8" fmla="*/ 802852 w 4811413"/>
              <a:gd name="connsiteY8" fmla="*/ 4685680 h 7294247"/>
              <a:gd name="connsiteX9" fmla="*/ 455715 w 4811413"/>
              <a:gd name="connsiteY9" fmla="*/ 3731917 h 7294247"/>
              <a:gd name="connsiteX10" fmla="*/ 132484 w 4811413"/>
              <a:gd name="connsiteY10" fmla="*/ 3239232 h 7294247"/>
              <a:gd name="connsiteX11" fmla="*/ 121726 w 4811413"/>
              <a:gd name="connsiteY11" fmla="*/ 2261564 h 7294247"/>
              <a:gd name="connsiteX12" fmla="*/ 395160 w 4811413"/>
              <a:gd name="connsiteY12" fmla="*/ 1839663 h 7294247"/>
              <a:gd name="connsiteX13" fmla="*/ 766863 w 4811413"/>
              <a:gd name="connsiteY13" fmla="*/ 1007807 h 7294247"/>
              <a:gd name="connsiteX14" fmla="*/ 868588 w 4811413"/>
              <a:gd name="connsiteY14" fmla="*/ 380996 h 7294247"/>
              <a:gd name="connsiteX15" fmla="*/ 954873 w 4811413"/>
              <a:gd name="connsiteY15" fmla="*/ 91761 h 7294247"/>
              <a:gd name="connsiteX16" fmla="*/ 1003546 w 4811413"/>
              <a:gd name="connsiteY16" fmla="*/ 0 h 7294247"/>
              <a:gd name="connsiteX0" fmla="*/ 4476359 w 4476359"/>
              <a:gd name="connsiteY0" fmla="*/ 7240154 h 7294247"/>
              <a:gd name="connsiteX1" fmla="*/ 4128541 w 4476359"/>
              <a:gd name="connsiteY1" fmla="*/ 7284692 h 7294247"/>
              <a:gd name="connsiteX2" fmla="*/ 3224843 w 4476359"/>
              <a:gd name="connsiteY2" fmla="*/ 6990409 h 7294247"/>
              <a:gd name="connsiteX3" fmla="*/ 2920334 w 4476359"/>
              <a:gd name="connsiteY3" fmla="*/ 6648849 h 7294247"/>
              <a:gd name="connsiteX4" fmla="*/ 2031909 w 4476359"/>
              <a:gd name="connsiteY4" fmla="*/ 6068385 h 7294247"/>
              <a:gd name="connsiteX5" fmla="*/ 1588491 w 4476359"/>
              <a:gd name="connsiteY5" fmla="*/ 5936383 h 7294247"/>
              <a:gd name="connsiteX6" fmla="*/ 890499 w 4476359"/>
              <a:gd name="connsiteY6" fmla="*/ 5193770 h 7294247"/>
              <a:gd name="connsiteX7" fmla="*/ 802852 w 4476359"/>
              <a:gd name="connsiteY7" fmla="*/ 4685680 h 7294247"/>
              <a:gd name="connsiteX8" fmla="*/ 455715 w 4476359"/>
              <a:gd name="connsiteY8" fmla="*/ 3731917 h 7294247"/>
              <a:gd name="connsiteX9" fmla="*/ 132484 w 4476359"/>
              <a:gd name="connsiteY9" fmla="*/ 3239232 h 7294247"/>
              <a:gd name="connsiteX10" fmla="*/ 121726 w 4476359"/>
              <a:gd name="connsiteY10" fmla="*/ 2261564 h 7294247"/>
              <a:gd name="connsiteX11" fmla="*/ 395160 w 4476359"/>
              <a:gd name="connsiteY11" fmla="*/ 1839663 h 7294247"/>
              <a:gd name="connsiteX12" fmla="*/ 766863 w 4476359"/>
              <a:gd name="connsiteY12" fmla="*/ 1007807 h 7294247"/>
              <a:gd name="connsiteX13" fmla="*/ 868588 w 4476359"/>
              <a:gd name="connsiteY13" fmla="*/ 380996 h 7294247"/>
              <a:gd name="connsiteX14" fmla="*/ 954873 w 4476359"/>
              <a:gd name="connsiteY14" fmla="*/ 91761 h 7294247"/>
              <a:gd name="connsiteX15" fmla="*/ 1003546 w 4476359"/>
              <a:gd name="connsiteY15" fmla="*/ 0 h 7294247"/>
              <a:gd name="connsiteX0" fmla="*/ 4128541 w 4128541"/>
              <a:gd name="connsiteY0" fmla="*/ 7284692 h 7294247"/>
              <a:gd name="connsiteX1" fmla="*/ 3224843 w 4128541"/>
              <a:gd name="connsiteY1" fmla="*/ 6990409 h 7294247"/>
              <a:gd name="connsiteX2" fmla="*/ 2920334 w 4128541"/>
              <a:gd name="connsiteY2" fmla="*/ 6648849 h 7294247"/>
              <a:gd name="connsiteX3" fmla="*/ 2031909 w 4128541"/>
              <a:gd name="connsiteY3" fmla="*/ 6068385 h 7294247"/>
              <a:gd name="connsiteX4" fmla="*/ 1588491 w 4128541"/>
              <a:gd name="connsiteY4" fmla="*/ 5936383 h 7294247"/>
              <a:gd name="connsiteX5" fmla="*/ 890499 w 4128541"/>
              <a:gd name="connsiteY5" fmla="*/ 5193770 h 7294247"/>
              <a:gd name="connsiteX6" fmla="*/ 802852 w 4128541"/>
              <a:gd name="connsiteY6" fmla="*/ 4685680 h 7294247"/>
              <a:gd name="connsiteX7" fmla="*/ 455715 w 4128541"/>
              <a:gd name="connsiteY7" fmla="*/ 3731917 h 7294247"/>
              <a:gd name="connsiteX8" fmla="*/ 132484 w 4128541"/>
              <a:gd name="connsiteY8" fmla="*/ 3239232 h 7294247"/>
              <a:gd name="connsiteX9" fmla="*/ 121726 w 4128541"/>
              <a:gd name="connsiteY9" fmla="*/ 2261564 h 7294247"/>
              <a:gd name="connsiteX10" fmla="*/ 395160 w 4128541"/>
              <a:gd name="connsiteY10" fmla="*/ 1839663 h 7294247"/>
              <a:gd name="connsiteX11" fmla="*/ 766863 w 4128541"/>
              <a:gd name="connsiteY11" fmla="*/ 1007807 h 7294247"/>
              <a:gd name="connsiteX12" fmla="*/ 868588 w 4128541"/>
              <a:gd name="connsiteY12" fmla="*/ 380996 h 7294247"/>
              <a:gd name="connsiteX13" fmla="*/ 954873 w 4128541"/>
              <a:gd name="connsiteY13" fmla="*/ 91761 h 7294247"/>
              <a:gd name="connsiteX14" fmla="*/ 1003546 w 4128541"/>
              <a:gd name="connsiteY14" fmla="*/ 0 h 7294247"/>
              <a:gd name="connsiteX0" fmla="*/ 3224843 w 3224843"/>
              <a:gd name="connsiteY0" fmla="*/ 6990409 h 6990409"/>
              <a:gd name="connsiteX1" fmla="*/ 2920334 w 3224843"/>
              <a:gd name="connsiteY1" fmla="*/ 6648849 h 6990409"/>
              <a:gd name="connsiteX2" fmla="*/ 2031909 w 3224843"/>
              <a:gd name="connsiteY2" fmla="*/ 6068385 h 6990409"/>
              <a:gd name="connsiteX3" fmla="*/ 1588491 w 3224843"/>
              <a:gd name="connsiteY3" fmla="*/ 5936383 h 6990409"/>
              <a:gd name="connsiteX4" fmla="*/ 890499 w 3224843"/>
              <a:gd name="connsiteY4" fmla="*/ 5193770 h 6990409"/>
              <a:gd name="connsiteX5" fmla="*/ 802852 w 3224843"/>
              <a:gd name="connsiteY5" fmla="*/ 4685680 h 6990409"/>
              <a:gd name="connsiteX6" fmla="*/ 455715 w 3224843"/>
              <a:gd name="connsiteY6" fmla="*/ 3731917 h 6990409"/>
              <a:gd name="connsiteX7" fmla="*/ 132484 w 3224843"/>
              <a:gd name="connsiteY7" fmla="*/ 3239232 h 6990409"/>
              <a:gd name="connsiteX8" fmla="*/ 121726 w 3224843"/>
              <a:gd name="connsiteY8" fmla="*/ 2261564 h 6990409"/>
              <a:gd name="connsiteX9" fmla="*/ 395160 w 3224843"/>
              <a:gd name="connsiteY9" fmla="*/ 1839663 h 6990409"/>
              <a:gd name="connsiteX10" fmla="*/ 766863 w 3224843"/>
              <a:gd name="connsiteY10" fmla="*/ 1007807 h 6990409"/>
              <a:gd name="connsiteX11" fmla="*/ 868588 w 3224843"/>
              <a:gd name="connsiteY11" fmla="*/ 380996 h 6990409"/>
              <a:gd name="connsiteX12" fmla="*/ 954873 w 3224843"/>
              <a:gd name="connsiteY12" fmla="*/ 91761 h 6990409"/>
              <a:gd name="connsiteX13" fmla="*/ 1003546 w 3224843"/>
              <a:gd name="connsiteY13" fmla="*/ 0 h 6990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224843" h="6990409">
                <a:moveTo>
                  <a:pt x="3224843" y="6990409"/>
                </a:moveTo>
                <a:cubicBezTo>
                  <a:pt x="3119002" y="6880584"/>
                  <a:pt x="3017011" y="6766642"/>
                  <a:pt x="2920334" y="6648849"/>
                </a:cubicBezTo>
                <a:cubicBezTo>
                  <a:pt x="2684881" y="6361206"/>
                  <a:pt x="2393919" y="6162406"/>
                  <a:pt x="2031909" y="6068385"/>
                </a:cubicBezTo>
                <a:cubicBezTo>
                  <a:pt x="1882774" y="6029740"/>
                  <a:pt x="1735367" y="5983527"/>
                  <a:pt x="1588491" y="5936383"/>
                </a:cubicBezTo>
                <a:cubicBezTo>
                  <a:pt x="1219178" y="5818058"/>
                  <a:pt x="973499" y="5579816"/>
                  <a:pt x="890499" y="5193770"/>
                </a:cubicBezTo>
                <a:cubicBezTo>
                  <a:pt x="854246" y="5025912"/>
                  <a:pt x="825428" y="4855928"/>
                  <a:pt x="802852" y="4685680"/>
                </a:cubicBezTo>
                <a:cubicBezTo>
                  <a:pt x="757037" y="4341597"/>
                  <a:pt x="659696" y="4018764"/>
                  <a:pt x="455715" y="3731917"/>
                </a:cubicBezTo>
                <a:cubicBezTo>
                  <a:pt x="341776" y="3571894"/>
                  <a:pt x="225444" y="3411473"/>
                  <a:pt x="132484" y="3239232"/>
                </a:cubicBezTo>
                <a:cubicBezTo>
                  <a:pt x="-40024" y="2919318"/>
                  <a:pt x="-44539" y="2585727"/>
                  <a:pt x="121726" y="2261564"/>
                </a:cubicBezTo>
                <a:cubicBezTo>
                  <a:pt x="197952" y="2113228"/>
                  <a:pt x="297686" y="1975913"/>
                  <a:pt x="395160" y="1839663"/>
                </a:cubicBezTo>
                <a:cubicBezTo>
                  <a:pt x="576033" y="1587077"/>
                  <a:pt x="719188" y="1319620"/>
                  <a:pt x="766863" y="1007807"/>
                </a:cubicBezTo>
                <a:cubicBezTo>
                  <a:pt x="798868" y="798650"/>
                  <a:pt x="831669" y="589491"/>
                  <a:pt x="868588" y="380996"/>
                </a:cubicBezTo>
                <a:cubicBezTo>
                  <a:pt x="887246" y="275919"/>
                  <a:pt x="915914" y="179407"/>
                  <a:pt x="954873" y="91761"/>
                </a:cubicBezTo>
                <a:lnTo>
                  <a:pt x="1003546" y="0"/>
                </a:lnTo>
              </a:path>
            </a:pathLst>
          </a:custGeom>
          <a:noFill/>
          <a:ln w="38100" cap="flat" cmpd="sng" algn="ctr">
            <a:solidFill>
              <a:srgbClr val="2B398A">
                <a:alpha val="86000"/>
              </a:srgbClr>
            </a:solidFill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Lato" panose="020F0502020204030203" pitchFamily="34" charset="0"/>
            </a:endParaRPr>
          </a:p>
        </p:txBody>
      </p:sp>
      <p:pic>
        <p:nvPicPr>
          <p:cNvPr id="30" name="Picture 29" descr="A picture containing outdoor object, outdoor, snowboarding&#10;&#10;Description automatically generated">
            <a:extLst>
              <a:ext uri="{FF2B5EF4-FFF2-40B4-BE49-F238E27FC236}">
                <a16:creationId xmlns:a16="http://schemas.microsoft.com/office/drawing/2014/main" id="{FE2EB828-CEB9-48C5-BFD7-E518C6441C8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duotone>
              <a:srgbClr val="54545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4994786" y="-734944"/>
            <a:ext cx="7518400" cy="8119872"/>
          </a:xfrm>
          <a:custGeom>
            <a:avLst/>
            <a:gdLst>
              <a:gd name="connsiteX0" fmla="*/ 6350000 w 6350000"/>
              <a:gd name="connsiteY0" fmla="*/ 0 h 6858000"/>
              <a:gd name="connsiteX1" fmla="*/ 0 w 6350000"/>
              <a:gd name="connsiteY1" fmla="*/ 0 h 6858000"/>
              <a:gd name="connsiteX2" fmla="*/ 0 w 6350000"/>
              <a:gd name="connsiteY2" fmla="*/ 6858000 h 6858000"/>
              <a:gd name="connsiteX3" fmla="*/ 3213100 w 6350000"/>
              <a:gd name="connsiteY3" fmla="*/ 6858000 h 6858000"/>
              <a:gd name="connsiteX4" fmla="*/ 6350000 w 6350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0000" h="6858000">
                <a:moveTo>
                  <a:pt x="6350000" y="0"/>
                </a:moveTo>
                <a:lnTo>
                  <a:pt x="0" y="0"/>
                </a:lnTo>
                <a:lnTo>
                  <a:pt x="0" y="6858000"/>
                </a:lnTo>
                <a:lnTo>
                  <a:pt x="3213100" y="6858000"/>
                </a:lnTo>
                <a:lnTo>
                  <a:pt x="6350000" y="6858000"/>
                </a:lnTo>
                <a:close/>
              </a:path>
            </a:pathLst>
          </a:custGeom>
        </p:spPr>
      </p:pic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346015" y="4671643"/>
            <a:ext cx="6248462" cy="372923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cap="none" baseline="0">
                <a:solidFill>
                  <a:srgbClr val="555555"/>
                </a:solidFill>
                <a:latin typeface="Lato" panose="020F0502020204030203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46015" y="4240756"/>
            <a:ext cx="6248462" cy="430887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rgbClr val="555555"/>
                </a:solidFill>
                <a:latin typeface="Lato" panose="020F0502020204030203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322706" y="1692330"/>
            <a:ext cx="3700347" cy="2289729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>
              <a:lnSpc>
                <a:spcPct val="93000"/>
              </a:lnSpc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68CEF0BA-52F3-F684-4567-AD6AC4702B70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325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50" presetClass="entr" presetSubtype="0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4" grpId="0" animBg="1"/>
      <p:bldP spid="25" grpId="0" animBg="1"/>
      <p:bldP spid="29" grpId="0" animBg="1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069AE7E-856F-40D7-8337-F3E563CECA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954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069AE7E-856F-40D7-8337-F3E563CEC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EEEA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4" descr="C&amp;A">
            <a:extLst>
              <a:ext uri="{FF2B5EF4-FFF2-40B4-BE49-F238E27FC236}">
                <a16:creationId xmlns:a16="http://schemas.microsoft.com/office/drawing/2014/main" id="{50965C9A-0F12-4253-B1FA-0DE1F38B62E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380502E1-DAE8-97D6-8DE9-48B279ABCB7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86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0D71B1-8134-4288-8BB1-C6685D7D91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049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0D71B1-8134-4288-8BB1-C6685D7D91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EEA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AF5B0708-7202-4ABE-9330-1E5CB9EB36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C4BC8CD-9372-3DDB-4CAF-8B347AD1DAB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36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1D3CE73-E96E-4C00-948D-BDCD8591EC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4116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D3CE73-E96E-4C00-948D-BDCD8591E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EEEA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4" descr="C&amp;A">
            <a:extLst>
              <a:ext uri="{FF2B5EF4-FFF2-40B4-BE49-F238E27FC236}">
                <a16:creationId xmlns:a16="http://schemas.microsoft.com/office/drawing/2014/main" id="{E5B7CC5A-3C1F-42C8-B5B3-039241B9A15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D7738DA-D9AB-FCA2-A8B2-4BE4BB89B9A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74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847A35C-0873-4F0F-936C-F7A02BBD5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4713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47A35C-0873-4F0F-936C-F7A02BBD5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EEAD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91F0D433-4882-4D4D-AB26-A6BA1F26EE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27DF749D-A389-405C-BCD0-A75311B177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9BA78B21-B5B9-B35F-F3D6-BB6B12B9BDF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23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EEEA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9F615B-319A-4F6A-BAC8-670135F8C5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433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9F615B-319A-4F6A-BAC8-670135F8C5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2851"/>
              </a:gs>
              <a:gs pos="100000">
                <a:srgbClr val="3471A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8177D635-C7DD-4495-8AD8-8F7C536DAAB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2E585A6E-EDBC-14CF-DA49-C3BD43DC572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050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195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EEA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C&amp;A">
            <a:extLst>
              <a:ext uri="{FF2B5EF4-FFF2-40B4-BE49-F238E27FC236}">
                <a16:creationId xmlns:a16="http://schemas.microsoft.com/office/drawing/2014/main" id="{021537A7-F411-40E9-B901-0D603E032D8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DDFD8BA0-F312-61D1-2188-ED4788DEDAE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6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EEEA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682E46F-EAEB-454E-82D5-5AD3A9C3F0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4056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82E46F-EAEB-454E-82D5-5AD3A9C3F0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2851"/>
              </a:gs>
              <a:gs pos="100000">
                <a:srgbClr val="3471A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165FC9AD-F849-4A49-A042-B99F1130A08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48FA1EC0-9680-BA63-5F9D-AE96B3071C2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0153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4554A2-3BC3-4C2D-B511-10C2F34BFF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873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4554A2-3BC3-4C2D-B511-10C2F34BF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EEEA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513FF616-E35E-4FF5-A7B3-AF7ED30D3D7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B3922DC0-BCCC-3714-10B8-E9EDCB9BC73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58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EEEA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8B1894A-2E1A-4397-A025-069972D7C5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675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B1894A-2E1A-4397-A025-069972D7C5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2851"/>
              </a:gs>
              <a:gs pos="100000">
                <a:srgbClr val="3471A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5753329E-790A-40C5-8254-335AC939F87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8D5A66B7-9C2A-83FA-B9C4-8E04C502D22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0040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9032A27-77F1-4B03-B257-6B52926980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849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032A27-77F1-4B03-B257-6B5292698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EEEA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0491402D-5D72-41CF-A12D-D25653AAE5B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4BBAC4B0-BD73-DE23-9C01-71579515182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320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4915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5221B92-31DF-4E07-9EA1-FDB2D51DBE3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/>
          <a:srcRect l="8268" t="3152" b="21007"/>
          <a:stretch>
            <a:fillRect/>
          </a:stretch>
        </p:blipFill>
        <p:spPr>
          <a:xfrm>
            <a:off x="1" y="2"/>
            <a:ext cx="7526291" cy="6857997"/>
          </a:xfrm>
          <a:custGeom>
            <a:avLst/>
            <a:gdLst>
              <a:gd name="connsiteX0" fmla="*/ 0 w 7526291"/>
              <a:gd name="connsiteY0" fmla="*/ 0 h 6857997"/>
              <a:gd name="connsiteX1" fmla="*/ 2960600 w 7526291"/>
              <a:gd name="connsiteY1" fmla="*/ 0 h 6857997"/>
              <a:gd name="connsiteX2" fmla="*/ 6038370 w 7526291"/>
              <a:gd name="connsiteY2" fmla="*/ 3077529 h 6857997"/>
              <a:gd name="connsiteX3" fmla="*/ 7446446 w 7526291"/>
              <a:gd name="connsiteY3" fmla="*/ 3149692 h 6857997"/>
              <a:gd name="connsiteX4" fmla="*/ 7526291 w 7526291"/>
              <a:gd name="connsiteY4" fmla="*/ 3077531 h 6857997"/>
              <a:gd name="connsiteX5" fmla="*/ 7526291 w 7526291"/>
              <a:gd name="connsiteY5" fmla="*/ 3077531 h 6857997"/>
              <a:gd name="connsiteX6" fmla="*/ 3745529 w 7526291"/>
              <a:gd name="connsiteY6" fmla="*/ 6857997 h 6857997"/>
              <a:gd name="connsiteX7" fmla="*/ 0 w 7526291"/>
              <a:gd name="connsiteY7" fmla="*/ 6857997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6291" h="6857997">
                <a:moveTo>
                  <a:pt x="0" y="0"/>
                </a:moveTo>
                <a:lnTo>
                  <a:pt x="2960600" y="0"/>
                </a:lnTo>
                <a:lnTo>
                  <a:pt x="6038370" y="3077529"/>
                </a:lnTo>
                <a:cubicBezTo>
                  <a:pt x="6424164" y="3462399"/>
                  <a:pt x="7033495" y="3486453"/>
                  <a:pt x="7446446" y="3149692"/>
                </a:cubicBezTo>
                <a:lnTo>
                  <a:pt x="7526291" y="3077531"/>
                </a:lnTo>
                <a:lnTo>
                  <a:pt x="7526291" y="3077531"/>
                </a:lnTo>
                <a:lnTo>
                  <a:pt x="3745529" y="6857997"/>
                </a:lnTo>
                <a:lnTo>
                  <a:pt x="0" y="6857997"/>
                </a:lnTo>
                <a:close/>
              </a:path>
            </a:pathLst>
          </a:custGeom>
        </p:spPr>
      </p:pic>
      <p:sp>
        <p:nvSpPr>
          <p:cNvPr id="20" name="Freeform 9">
            <a:extLst>
              <a:ext uri="{FF2B5EF4-FFF2-40B4-BE49-F238E27FC236}">
                <a16:creationId xmlns:a16="http://schemas.microsoft.com/office/drawing/2014/main" id="{2F8A0633-697D-4C59-98B9-AE5D612E4095}"/>
              </a:ext>
            </a:extLst>
          </p:cNvPr>
          <p:cNvSpPr/>
          <p:nvPr userDrawn="1"/>
        </p:nvSpPr>
        <p:spPr>
          <a:xfrm>
            <a:off x="6568002" y="2555319"/>
            <a:ext cx="5623999" cy="4301730"/>
          </a:xfrm>
          <a:custGeom>
            <a:avLst/>
            <a:gdLst>
              <a:gd name="connsiteX0" fmla="*/ 2662087 w 5629278"/>
              <a:gd name="connsiteY0" fmla="*/ 308210 h 4306104"/>
              <a:gd name="connsiteX1" fmla="*/ 1172767 w 5629278"/>
              <a:gd name="connsiteY1" fmla="*/ 308210 h 4306104"/>
              <a:gd name="connsiteX2" fmla="*/ 0 w 5629278"/>
              <a:gd name="connsiteY2" fmla="*/ 1480976 h 4306104"/>
              <a:gd name="connsiteX3" fmla="*/ 1489320 w 5629278"/>
              <a:gd name="connsiteY3" fmla="*/ 1480976 h 4306104"/>
              <a:gd name="connsiteX4" fmla="*/ 4314446 w 5629278"/>
              <a:gd name="connsiteY4" fmla="*/ 4306105 h 4306104"/>
              <a:gd name="connsiteX5" fmla="*/ 5629279 w 5629278"/>
              <a:gd name="connsiteY5" fmla="*/ 4306105 h 4306104"/>
              <a:gd name="connsiteX6" fmla="*/ 5629279 w 5629278"/>
              <a:gd name="connsiteY6" fmla="*/ 3275404 h 4306104"/>
              <a:gd name="connsiteX7" fmla="*/ 2661132 w 5629278"/>
              <a:gd name="connsiteY7" fmla="*/ 307255 h 430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29278" h="4306104">
                <a:moveTo>
                  <a:pt x="2662087" y="308210"/>
                </a:moveTo>
                <a:cubicBezTo>
                  <a:pt x="2251141" y="-102737"/>
                  <a:pt x="1584667" y="-102737"/>
                  <a:pt x="1172767" y="308210"/>
                </a:cubicBezTo>
                <a:lnTo>
                  <a:pt x="0" y="1480976"/>
                </a:lnTo>
                <a:cubicBezTo>
                  <a:pt x="410946" y="1070030"/>
                  <a:pt x="1077420" y="1070030"/>
                  <a:pt x="1489320" y="1480976"/>
                </a:cubicBezTo>
                <a:lnTo>
                  <a:pt x="4314446" y="4306105"/>
                </a:lnTo>
                <a:lnTo>
                  <a:pt x="5629279" y="4306105"/>
                </a:lnTo>
                <a:lnTo>
                  <a:pt x="5629279" y="3275404"/>
                </a:lnTo>
                <a:lnTo>
                  <a:pt x="2661132" y="307255"/>
                </a:lnTo>
                <a:close/>
              </a:path>
            </a:pathLst>
          </a:custGeom>
          <a:gradFill>
            <a:gsLst>
              <a:gs pos="100000">
                <a:srgbClr val="2B398A"/>
              </a:gs>
              <a:gs pos="0">
                <a:srgbClr val="D16636"/>
              </a:gs>
            </a:gsLst>
            <a:lin ang="5400000" scaled="0"/>
          </a:gradFill>
          <a:ln w="953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D3C5EEB9-224C-4CC8-9294-074E5D491F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 flipH="1">
            <a:off x="1" y="3"/>
            <a:ext cx="7526292" cy="6857997"/>
          </a:xfrm>
          <a:custGeom>
            <a:avLst/>
            <a:gdLst>
              <a:gd name="connsiteX0" fmla="*/ 7526292 w 7526292"/>
              <a:gd name="connsiteY0" fmla="*/ 0 h 6857997"/>
              <a:gd name="connsiteX1" fmla="*/ 4565692 w 7526292"/>
              <a:gd name="connsiteY1" fmla="*/ 0 h 6857997"/>
              <a:gd name="connsiteX2" fmla="*/ 1487922 w 7526292"/>
              <a:gd name="connsiteY2" fmla="*/ 3077529 h 6857997"/>
              <a:gd name="connsiteX3" fmla="*/ 79846 w 7526292"/>
              <a:gd name="connsiteY3" fmla="*/ 3149692 h 6857997"/>
              <a:gd name="connsiteX4" fmla="*/ 0 w 7526292"/>
              <a:gd name="connsiteY4" fmla="*/ 3077530 h 6857997"/>
              <a:gd name="connsiteX5" fmla="*/ 3780763 w 7526292"/>
              <a:gd name="connsiteY5" fmla="*/ 6857997 h 6857997"/>
              <a:gd name="connsiteX6" fmla="*/ 7526292 w 7526292"/>
              <a:gd name="connsiteY6" fmla="*/ 6857997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526292" h="6857997">
                <a:moveTo>
                  <a:pt x="7526292" y="0"/>
                </a:moveTo>
                <a:lnTo>
                  <a:pt x="4565692" y="0"/>
                </a:lnTo>
                <a:lnTo>
                  <a:pt x="1487922" y="3077529"/>
                </a:lnTo>
                <a:cubicBezTo>
                  <a:pt x="1102128" y="3462399"/>
                  <a:pt x="492797" y="3486453"/>
                  <a:pt x="79846" y="3149692"/>
                </a:cubicBezTo>
                <a:lnTo>
                  <a:pt x="0" y="3077530"/>
                </a:lnTo>
                <a:lnTo>
                  <a:pt x="3780763" y="6857997"/>
                </a:lnTo>
                <a:lnTo>
                  <a:pt x="7526292" y="6857997"/>
                </a:lnTo>
                <a:close/>
              </a:path>
            </a:pathLst>
          </a:custGeom>
          <a:solidFill>
            <a:srgbClr val="000000">
              <a:alpha val="45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pic>
        <p:nvPicPr>
          <p:cNvPr id="32" name="Picture 4" descr="C&amp;A">
            <a:extLst>
              <a:ext uri="{FF2B5EF4-FFF2-40B4-BE49-F238E27FC236}">
                <a16:creationId xmlns:a16="http://schemas.microsoft.com/office/drawing/2014/main" id="{4C6BA575-28A7-48C8-91C6-8349CC3B05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772" y="4900455"/>
            <a:ext cx="1338420" cy="1338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620686" y="2082841"/>
            <a:ext cx="4751414" cy="2133517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Lato" panose="020F0502020204030203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620686" y="4464260"/>
            <a:ext cx="4751414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None/>
              <a:defRPr sz="1600" baseline="0">
                <a:solidFill>
                  <a:schemeClr val="bg1"/>
                </a:solidFill>
                <a:latin typeface="Lato" panose="020F0502020204030203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123E882B-B22B-E74E-04A4-B59EFE34E508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50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EEEA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B0B1B1B-54D9-4667-B0EC-38F6A2BA64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9125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0B1B1B-54D9-4667-B0EC-38F6A2BA64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2851"/>
              </a:gs>
              <a:gs pos="100000">
                <a:srgbClr val="3471A2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E231E0AF-E927-49B7-B6A4-03B4E2DDE7E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EC33D928-FEF4-B7B7-8E77-A1CC09585D1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22AA6E0-4912-4F98-87D5-1CF4236EE0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9207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2AA6E0-4912-4F98-87D5-1CF4236EE0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7" name="Picture 4" descr="C&amp;A">
            <a:extLst>
              <a:ext uri="{FF2B5EF4-FFF2-40B4-BE49-F238E27FC236}">
                <a16:creationId xmlns:a16="http://schemas.microsoft.com/office/drawing/2014/main" id="{41B2AD57-07C5-4774-B107-B029AC9C38A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7E042FA5-5D01-E2ED-E602-65BB1C93179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28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EEEA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E2876BB-6B7D-445A-A77E-A5861E6C1F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66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2876BB-6B7D-445A-A77E-A5861E6C1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B39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6E912D56-1D41-0155-954C-8C2C40459636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572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61D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829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B398A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" name="Picture 4" descr="C&amp;A">
            <a:extLst>
              <a:ext uri="{FF2B5EF4-FFF2-40B4-BE49-F238E27FC236}">
                <a16:creationId xmlns:a16="http://schemas.microsoft.com/office/drawing/2014/main" id="{D49ABF1B-6F19-4AD8-B8CA-8A04211325A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F5AC2BD-17D0-1D08-C26A-D31AEDE7E80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419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7D0E63-68BE-481C-855F-34DEEAEFC4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0471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7D0E63-68BE-481C-855F-34DEEAEFC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7" name="Picture 4" descr="C&amp;A">
            <a:extLst>
              <a:ext uri="{FF2B5EF4-FFF2-40B4-BE49-F238E27FC236}">
                <a16:creationId xmlns:a16="http://schemas.microsoft.com/office/drawing/2014/main" id="{CEA34562-A578-4DDC-8E6B-4D5F3E7AB55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064BE1C-9F70-3253-7381-E6BC2967101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29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EEEA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1DDF886-036E-420A-A3A8-6E830DA695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225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DDF886-036E-420A-A3A8-6E830DA695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E200A4-90D2-ECD3-AA78-C1E6FA3259A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840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0D6D016-147B-452F-A94F-BD8BE719B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6022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D6D016-147B-452F-A94F-BD8BE719B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6" name="Picture 4" descr="C&amp;A">
            <a:extLst>
              <a:ext uri="{FF2B5EF4-FFF2-40B4-BE49-F238E27FC236}">
                <a16:creationId xmlns:a16="http://schemas.microsoft.com/office/drawing/2014/main" id="{CC12D923-B683-4EEB-A142-B4BC63180E0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6EDD72E1-4CA7-1E22-1081-FDA52129C0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97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EEEA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D2289EC-E244-430E-9DF8-ABDDF81077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9550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2289EC-E244-430E-9DF8-ABDDF8107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5D5A83F7-52D2-441A-8761-51D23A9F60D5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4F10554-2AEA-4BE8-84CA-DDA202D30C33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27CE3CC-0D8D-4218-949D-C7CBC14514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541374" cy="3323987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C41D135B-FBFB-8A5B-3F1C-F69F0B45372B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21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75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g object 16">
            <a:extLst>
              <a:ext uri="{FF2B5EF4-FFF2-40B4-BE49-F238E27FC236}">
                <a16:creationId xmlns:a16="http://schemas.microsoft.com/office/drawing/2014/main" id="{70550EA2-385F-4EB5-98FA-84E7B5055857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pic>
        <p:nvPicPr>
          <p:cNvPr id="11" name="Picture 4" descr="C&amp;A">
            <a:extLst>
              <a:ext uri="{FF2B5EF4-FFF2-40B4-BE49-F238E27FC236}">
                <a16:creationId xmlns:a16="http://schemas.microsoft.com/office/drawing/2014/main" id="{73A9891E-E05D-470C-BCDC-5AAE7BD89C9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71" t="16941" r="8200" b="16943"/>
          <a:stretch/>
        </p:blipFill>
        <p:spPr bwMode="auto">
          <a:xfrm>
            <a:off x="547457" y="950683"/>
            <a:ext cx="2494959" cy="196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bject 4">
            <a:extLst>
              <a:ext uri="{FF2B5EF4-FFF2-40B4-BE49-F238E27FC236}">
                <a16:creationId xmlns:a16="http://schemas.microsoft.com/office/drawing/2014/main" id="{E8DEF8FD-C280-48B3-9ECF-F70191550D34}"/>
              </a:ext>
            </a:extLst>
          </p:cNvPr>
          <p:cNvSpPr txBox="1"/>
          <p:nvPr userDrawn="1"/>
        </p:nvSpPr>
        <p:spPr>
          <a:xfrm>
            <a:off x="628650" y="3944239"/>
            <a:ext cx="2807715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PH" sz="3600" b="1" kern="0" spc="-15" err="1">
                <a:solidFill>
                  <a:sysClr val="windowText" lastClr="000000"/>
                </a:solidFill>
                <a:latin typeface="+mj-lt"/>
              </a:rPr>
              <a:t>Obrigado</a:t>
            </a:r>
            <a:r>
              <a:rPr lang="en-PH" sz="3600" b="1" kern="0" spc="-15">
                <a:solidFill>
                  <a:sysClr val="windowText" lastClr="000000"/>
                </a:solidFill>
                <a:latin typeface="+mj-lt"/>
              </a:rPr>
              <a:t>!</a:t>
            </a:r>
            <a:endParaRPr sz="3600" kern="0">
              <a:solidFill>
                <a:sysClr val="windowText" lastClr="000000"/>
              </a:solidFill>
              <a:latin typeface="+mj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90A477-F055-9C29-111C-D6C91C5A69B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84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B5B6D4-EF06-4EBB-9C69-4BDD06CC0A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148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B5B6D4-EF06-4EBB-9C69-4BDD06CC0A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89E2415-8179-4496-B385-30938BF61EFB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7" name="No fly zone">
              <a:extLst>
                <a:ext uri="{FF2B5EF4-FFF2-40B4-BE49-F238E27FC236}">
                  <a16:creationId xmlns:a16="http://schemas.microsoft.com/office/drawing/2014/main" id="{232AE98B-0CA6-4883-A273-3F03F2E0EE15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C7020C">
                <a:alpha val="1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8" name="Baselines / anchors">
              <a:extLst>
                <a:ext uri="{FF2B5EF4-FFF2-40B4-BE49-F238E27FC236}">
                  <a16:creationId xmlns:a16="http://schemas.microsoft.com/office/drawing/2014/main" id="{03E2C1D0-48DC-4739-9117-F0368405946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CFC5BE2-26C1-4B2D-9E40-BBB71FC2EDD1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61A425B5-E333-410E-AAF4-8A45B8CEE458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F071EFF1-75EB-467F-B7EA-BDC9CC5FCE7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8D96753A-DAF4-4B1C-8268-4ABE9BFAEA91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7EFA4CF-53BA-4F1B-89D5-5FB546EBC2C5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C1343097-B0BE-43E4-888E-E295CCBAE222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19703456-7AAE-4C1F-88DE-01DD563E7C3E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F73BB390-5F32-4BBE-8B3C-5484AEEACA33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7494EBA-5F19-4219-A2B2-70D75132F43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3684C339-F0B2-4E35-8F62-B99678E985B5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DA35F933-D30B-4CA1-A0FC-0E0D0790E385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620CCA06-6279-490B-B159-C37CE861CCED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79CF8CEC-6320-4150-961A-2B6133CC06D9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6FEA6D74-0E63-4BE3-B18E-15C792D2FA61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F5DF36DB-A14E-48CB-A009-313D5B0193F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3F18BB72-C98A-459E-B069-71357DB8DE52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DC3CF975-7266-456E-92C8-B4BBA43CDED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9FA72325-DF96-498C-9166-F3E0D4320E0F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CA81C74F-5A70-40D0-A2A2-CBD250550577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D0B9D226-51BE-40D4-92A4-8C9CF3CF529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utter space">
              <a:extLst>
                <a:ext uri="{FF2B5EF4-FFF2-40B4-BE49-F238E27FC236}">
                  <a16:creationId xmlns:a16="http://schemas.microsoft.com/office/drawing/2014/main" id="{7F93DB24-FD4C-4DAB-935C-081D9532CEA2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71" name="Rectangle 34">
                <a:extLst>
                  <a:ext uri="{FF2B5EF4-FFF2-40B4-BE49-F238E27FC236}">
                    <a16:creationId xmlns:a16="http://schemas.microsoft.com/office/drawing/2014/main" id="{6A49C88F-02AA-40F6-ABE0-FF1C230CB7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35">
                <a:extLst>
                  <a:ext uri="{FF2B5EF4-FFF2-40B4-BE49-F238E27FC236}">
                    <a16:creationId xmlns:a16="http://schemas.microsoft.com/office/drawing/2014/main" id="{7A17A034-6D46-4974-B6CF-F2BC394343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36">
                <a:extLst>
                  <a:ext uri="{FF2B5EF4-FFF2-40B4-BE49-F238E27FC236}">
                    <a16:creationId xmlns:a16="http://schemas.microsoft.com/office/drawing/2014/main" id="{2F38AD28-73C8-4062-8F62-58968225AD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37">
                <a:extLst>
                  <a:ext uri="{FF2B5EF4-FFF2-40B4-BE49-F238E27FC236}">
                    <a16:creationId xmlns:a16="http://schemas.microsoft.com/office/drawing/2014/main" id="{7355BD6A-B418-4A75-9C73-B6ABACF6EA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38">
                <a:extLst>
                  <a:ext uri="{FF2B5EF4-FFF2-40B4-BE49-F238E27FC236}">
                    <a16:creationId xmlns:a16="http://schemas.microsoft.com/office/drawing/2014/main" id="{3AABDB54-0F5F-437A-8B77-B77951C343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39">
                <a:extLst>
                  <a:ext uri="{FF2B5EF4-FFF2-40B4-BE49-F238E27FC236}">
                    <a16:creationId xmlns:a16="http://schemas.microsoft.com/office/drawing/2014/main" id="{545F1FD1-73E1-4043-A079-A0569480AE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Rectangle 40">
                <a:extLst>
                  <a:ext uri="{FF2B5EF4-FFF2-40B4-BE49-F238E27FC236}">
                    <a16:creationId xmlns:a16="http://schemas.microsoft.com/office/drawing/2014/main" id="{4B111D01-799D-4A85-8766-CC8DEEB281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Rectangle 41">
                <a:extLst>
                  <a:ext uri="{FF2B5EF4-FFF2-40B4-BE49-F238E27FC236}">
                    <a16:creationId xmlns:a16="http://schemas.microsoft.com/office/drawing/2014/main" id="{3A5A1EDC-089A-486E-8EB2-016240DD75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Rectangle 42">
                <a:extLst>
                  <a:ext uri="{FF2B5EF4-FFF2-40B4-BE49-F238E27FC236}">
                    <a16:creationId xmlns:a16="http://schemas.microsoft.com/office/drawing/2014/main" id="{B134CC78-3750-4A16-B03C-B5CF64BBC5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43">
                <a:extLst>
                  <a:ext uri="{FF2B5EF4-FFF2-40B4-BE49-F238E27FC236}">
                    <a16:creationId xmlns:a16="http://schemas.microsoft.com/office/drawing/2014/main" id="{D6F57D44-D27D-4770-9724-3070898375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44">
                <a:extLst>
                  <a:ext uri="{FF2B5EF4-FFF2-40B4-BE49-F238E27FC236}">
                    <a16:creationId xmlns:a16="http://schemas.microsoft.com/office/drawing/2014/main" id="{A1902B99-3CF4-4C33-A018-91DA7BE7F0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0" name="Slide edges">
              <a:extLst>
                <a:ext uri="{FF2B5EF4-FFF2-40B4-BE49-F238E27FC236}">
                  <a16:creationId xmlns:a16="http://schemas.microsoft.com/office/drawing/2014/main" id="{20903D00-E592-46AF-94D9-2B71D82B2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BE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61" name="Footnote measure">
              <a:extLst>
                <a:ext uri="{FF2B5EF4-FFF2-40B4-BE49-F238E27FC236}">
                  <a16:creationId xmlns:a16="http://schemas.microsoft.com/office/drawing/2014/main" id="{36D94E41-C46A-4F65-8945-08D308DF71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rgbClr val="DFCA51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Whitespace measure">
              <a:extLst>
                <a:ext uri="{FF2B5EF4-FFF2-40B4-BE49-F238E27FC236}">
                  <a16:creationId xmlns:a16="http://schemas.microsoft.com/office/drawing/2014/main" id="{455A1EA8-88AA-4251-B615-4A47FC1C4A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rgbClr val="DFCA51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3" name="Five column measure">
              <a:extLst>
                <a:ext uri="{FF2B5EF4-FFF2-40B4-BE49-F238E27FC236}">
                  <a16:creationId xmlns:a16="http://schemas.microsoft.com/office/drawing/2014/main" id="{BCABB37F-CA40-470F-8B3E-407FCAAA1526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6" name="Rectangle 5">
                <a:extLst>
                  <a:ext uri="{FF2B5EF4-FFF2-40B4-BE49-F238E27FC236}">
                    <a16:creationId xmlns:a16="http://schemas.microsoft.com/office/drawing/2014/main" id="{2A24B838-9E94-44FA-8F9B-FDBD8E9F90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BEBEBE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7">
                <a:extLst>
                  <a:ext uri="{FF2B5EF4-FFF2-40B4-BE49-F238E27FC236}">
                    <a16:creationId xmlns:a16="http://schemas.microsoft.com/office/drawing/2014/main" id="{C04BDAAF-02D2-4AA0-9563-DB1706D339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BEBEBE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9">
                <a:extLst>
                  <a:ext uri="{FF2B5EF4-FFF2-40B4-BE49-F238E27FC236}">
                    <a16:creationId xmlns:a16="http://schemas.microsoft.com/office/drawing/2014/main" id="{12445793-FAFB-49C9-9CEB-EC1A06B193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BEBEBE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11">
                <a:extLst>
                  <a:ext uri="{FF2B5EF4-FFF2-40B4-BE49-F238E27FC236}">
                    <a16:creationId xmlns:a16="http://schemas.microsoft.com/office/drawing/2014/main" id="{2F59DFAE-F676-4F92-8E5F-087195E200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BEBEBE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13">
                <a:extLst>
                  <a:ext uri="{FF2B5EF4-FFF2-40B4-BE49-F238E27FC236}">
                    <a16:creationId xmlns:a16="http://schemas.microsoft.com/office/drawing/2014/main" id="{7EF09F4D-57FF-433B-9A0F-ED5C92B4E8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BEBEBE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4" name="Live area">
              <a:extLst>
                <a:ext uri="{FF2B5EF4-FFF2-40B4-BE49-F238E27FC236}">
                  <a16:creationId xmlns:a16="http://schemas.microsoft.com/office/drawing/2014/main" id="{08116BD3-5192-4E04-87E8-DEFEAEE9609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C7020C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65" name="Footnote example">
              <a:extLst>
                <a:ext uri="{FF2B5EF4-FFF2-40B4-BE49-F238E27FC236}">
                  <a16:creationId xmlns:a16="http://schemas.microsoft.com/office/drawing/2014/main" id="{6F3B957D-446E-494F-8998-E6F74FC90700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  <p:pic>
        <p:nvPicPr>
          <p:cNvPr id="4" name="Picture 2">
            <a:extLst>
              <a:ext uri="{FF2B5EF4-FFF2-40B4-BE49-F238E27FC236}">
                <a16:creationId xmlns:a16="http://schemas.microsoft.com/office/drawing/2014/main" id="{A495586C-A373-1337-DDCF-6CE1B38980E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66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EEEA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DEDAF7-DE48-4321-8B44-EDDBF76C75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778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DEDAF7-DE48-4321-8B44-EDDBF76C75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4472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4462F83E-9994-6B73-1065-5CB821F07C2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82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514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3A6FB787-526E-4BF4-8230-269300C6593D}"/>
              </a:ext>
            </a:extLst>
          </p:cNvPr>
          <p:cNvSpPr/>
          <p:nvPr userDrawn="1"/>
        </p:nvSpPr>
        <p:spPr>
          <a:xfrm>
            <a:off x="6568002" y="2555319"/>
            <a:ext cx="5623999" cy="4301730"/>
          </a:xfrm>
          <a:custGeom>
            <a:avLst/>
            <a:gdLst>
              <a:gd name="connsiteX0" fmla="*/ 2662087 w 5629278"/>
              <a:gd name="connsiteY0" fmla="*/ 308210 h 4306104"/>
              <a:gd name="connsiteX1" fmla="*/ 1172767 w 5629278"/>
              <a:gd name="connsiteY1" fmla="*/ 308210 h 4306104"/>
              <a:gd name="connsiteX2" fmla="*/ 0 w 5629278"/>
              <a:gd name="connsiteY2" fmla="*/ 1480976 h 4306104"/>
              <a:gd name="connsiteX3" fmla="*/ 1489320 w 5629278"/>
              <a:gd name="connsiteY3" fmla="*/ 1480976 h 4306104"/>
              <a:gd name="connsiteX4" fmla="*/ 4314446 w 5629278"/>
              <a:gd name="connsiteY4" fmla="*/ 4306105 h 4306104"/>
              <a:gd name="connsiteX5" fmla="*/ 5629279 w 5629278"/>
              <a:gd name="connsiteY5" fmla="*/ 4306105 h 4306104"/>
              <a:gd name="connsiteX6" fmla="*/ 5629279 w 5629278"/>
              <a:gd name="connsiteY6" fmla="*/ 3275404 h 4306104"/>
              <a:gd name="connsiteX7" fmla="*/ 2661132 w 5629278"/>
              <a:gd name="connsiteY7" fmla="*/ 307255 h 430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29278" h="4306104">
                <a:moveTo>
                  <a:pt x="2662087" y="308210"/>
                </a:moveTo>
                <a:cubicBezTo>
                  <a:pt x="2251141" y="-102737"/>
                  <a:pt x="1584667" y="-102737"/>
                  <a:pt x="1172767" y="308210"/>
                </a:cubicBezTo>
                <a:lnTo>
                  <a:pt x="0" y="1480976"/>
                </a:lnTo>
                <a:cubicBezTo>
                  <a:pt x="410946" y="1070030"/>
                  <a:pt x="1077420" y="1070030"/>
                  <a:pt x="1489320" y="1480976"/>
                </a:cubicBezTo>
                <a:lnTo>
                  <a:pt x="4314446" y="4306105"/>
                </a:lnTo>
                <a:lnTo>
                  <a:pt x="5629279" y="4306105"/>
                </a:lnTo>
                <a:lnTo>
                  <a:pt x="5629279" y="3275404"/>
                </a:lnTo>
                <a:lnTo>
                  <a:pt x="2661132" y="307255"/>
                </a:lnTo>
                <a:close/>
              </a:path>
            </a:pathLst>
          </a:custGeom>
          <a:gradFill>
            <a:gsLst>
              <a:gs pos="100000">
                <a:srgbClr val="262851"/>
              </a:gs>
              <a:gs pos="0">
                <a:srgbClr val="D16636"/>
              </a:gs>
            </a:gsLst>
            <a:lin ang="5400000" scaled="0"/>
          </a:gradFill>
          <a:ln w="9534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000000"/>
              </a:solidFill>
              <a:latin typeface="Lato" panose="020F0502020204030203" pitchFamily="34" charset="0"/>
            </a:endParaRPr>
          </a:p>
        </p:txBody>
      </p:sp>
      <p:pic>
        <p:nvPicPr>
          <p:cNvPr id="17" name="Picture 4" descr="C&amp;A">
            <a:extLst>
              <a:ext uri="{FF2B5EF4-FFF2-40B4-BE49-F238E27FC236}">
                <a16:creationId xmlns:a16="http://schemas.microsoft.com/office/drawing/2014/main" id="{49F1F04C-8795-4A47-9D63-EDD7836C86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772" y="4900455"/>
            <a:ext cx="1338420" cy="1338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5AE195C-9095-4034-BC21-21376A01EDAC}"/>
              </a:ext>
            </a:extLst>
          </p:cNvPr>
          <p:cNvSpPr/>
          <p:nvPr userDrawn="1"/>
        </p:nvSpPr>
        <p:spPr>
          <a:xfrm>
            <a:off x="7774288" y="0"/>
            <a:ext cx="4417712" cy="6858000"/>
          </a:xfrm>
          <a:custGeom>
            <a:avLst/>
            <a:gdLst>
              <a:gd name="connsiteX0" fmla="*/ 951901 w 4417712"/>
              <a:gd name="connsiteY0" fmla="*/ 0 h 6858000"/>
              <a:gd name="connsiteX1" fmla="*/ 4417712 w 4417712"/>
              <a:gd name="connsiteY1" fmla="*/ 0 h 6858000"/>
              <a:gd name="connsiteX2" fmla="*/ 4417712 w 4417712"/>
              <a:gd name="connsiteY2" fmla="*/ 6846805 h 6858000"/>
              <a:gd name="connsiteX3" fmla="*/ 4325080 w 4417712"/>
              <a:gd name="connsiteY3" fmla="*/ 6858000 h 6858000"/>
              <a:gd name="connsiteX4" fmla="*/ 3405974 w 4417712"/>
              <a:gd name="connsiteY4" fmla="*/ 6858000 h 6858000"/>
              <a:gd name="connsiteX5" fmla="*/ 3347254 w 4417712"/>
              <a:gd name="connsiteY5" fmla="*/ 6836020 h 6858000"/>
              <a:gd name="connsiteX6" fmla="*/ 3058885 w 4417712"/>
              <a:gd name="connsiteY6" fmla="*/ 6630666 h 6858000"/>
              <a:gd name="connsiteX7" fmla="*/ 2770047 w 4417712"/>
              <a:gd name="connsiteY7" fmla="*/ 6306683 h 6858000"/>
              <a:gd name="connsiteX8" fmla="*/ 1927342 w 4417712"/>
              <a:gd name="connsiteY8" fmla="*/ 5756091 h 6858000"/>
              <a:gd name="connsiteX9" fmla="*/ 1506744 w 4417712"/>
              <a:gd name="connsiteY9" fmla="*/ 5630882 h 6858000"/>
              <a:gd name="connsiteX10" fmla="*/ 844672 w 4417712"/>
              <a:gd name="connsiteY10" fmla="*/ 4926486 h 6858000"/>
              <a:gd name="connsiteX11" fmla="*/ 761535 w 4417712"/>
              <a:gd name="connsiteY11" fmla="*/ 4444543 h 6858000"/>
              <a:gd name="connsiteX12" fmla="*/ 432263 w 4417712"/>
              <a:gd name="connsiteY12" fmla="*/ 3539863 h 6858000"/>
              <a:gd name="connsiteX13" fmla="*/ 125667 w 4417712"/>
              <a:gd name="connsiteY13" fmla="*/ 3072533 h 6858000"/>
              <a:gd name="connsiteX14" fmla="*/ 115461 w 4417712"/>
              <a:gd name="connsiteY14" fmla="*/ 2145178 h 6858000"/>
              <a:gd name="connsiteX15" fmla="*/ 374823 w 4417712"/>
              <a:gd name="connsiteY15" fmla="*/ 1744989 h 6858000"/>
              <a:gd name="connsiteX16" fmla="*/ 727398 w 4417712"/>
              <a:gd name="connsiteY16" fmla="*/ 955943 h 6858000"/>
              <a:gd name="connsiteX17" fmla="*/ 823888 w 4417712"/>
              <a:gd name="connsiteY17" fmla="*/ 361389 h 6858000"/>
              <a:gd name="connsiteX18" fmla="*/ 905732 w 4417712"/>
              <a:gd name="connsiteY18" fmla="*/ 8703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417712" h="6858000">
                <a:moveTo>
                  <a:pt x="951901" y="0"/>
                </a:moveTo>
                <a:lnTo>
                  <a:pt x="4417712" y="0"/>
                </a:lnTo>
                <a:lnTo>
                  <a:pt x="4417712" y="6846805"/>
                </a:lnTo>
                <a:lnTo>
                  <a:pt x="4325080" y="6858000"/>
                </a:lnTo>
                <a:lnTo>
                  <a:pt x="3405974" y="6858000"/>
                </a:lnTo>
                <a:lnTo>
                  <a:pt x="3347254" y="6836020"/>
                </a:lnTo>
                <a:cubicBezTo>
                  <a:pt x="3243722" y="6789582"/>
                  <a:pt x="3147123" y="6722258"/>
                  <a:pt x="3058885" y="6630666"/>
                </a:cubicBezTo>
                <a:cubicBezTo>
                  <a:pt x="2958491" y="6526492"/>
                  <a:pt x="2861749" y="6418414"/>
                  <a:pt x="2770047" y="6306683"/>
                </a:cubicBezTo>
                <a:cubicBezTo>
                  <a:pt x="2546711" y="6033843"/>
                  <a:pt x="2270722" y="5845274"/>
                  <a:pt x="1927342" y="5756091"/>
                </a:cubicBezTo>
                <a:cubicBezTo>
                  <a:pt x="1785882" y="5719435"/>
                  <a:pt x="1646061" y="5675600"/>
                  <a:pt x="1506744" y="5630882"/>
                </a:cubicBezTo>
                <a:cubicBezTo>
                  <a:pt x="1156436" y="5518647"/>
                  <a:pt x="923400" y="5292665"/>
                  <a:pt x="844672" y="4926486"/>
                </a:cubicBezTo>
                <a:cubicBezTo>
                  <a:pt x="810284" y="4767266"/>
                  <a:pt x="782949" y="4606030"/>
                  <a:pt x="761535" y="4444543"/>
                </a:cubicBezTo>
                <a:cubicBezTo>
                  <a:pt x="718078" y="4118168"/>
                  <a:pt x="625746" y="3811948"/>
                  <a:pt x="432263" y="3539863"/>
                </a:cubicBezTo>
                <a:cubicBezTo>
                  <a:pt x="324187" y="3388075"/>
                  <a:pt x="213841" y="3235910"/>
                  <a:pt x="125667" y="3072533"/>
                </a:cubicBezTo>
                <a:cubicBezTo>
                  <a:pt x="-37964" y="2769083"/>
                  <a:pt x="-42247" y="2452659"/>
                  <a:pt x="115461" y="2145178"/>
                </a:cubicBezTo>
                <a:cubicBezTo>
                  <a:pt x="187765" y="2004476"/>
                  <a:pt x="282366" y="1874228"/>
                  <a:pt x="374823" y="1744989"/>
                </a:cubicBezTo>
                <a:cubicBezTo>
                  <a:pt x="546388" y="1505402"/>
                  <a:pt x="682177" y="1251709"/>
                  <a:pt x="727398" y="955943"/>
                </a:cubicBezTo>
                <a:cubicBezTo>
                  <a:pt x="757756" y="757549"/>
                  <a:pt x="788869" y="559154"/>
                  <a:pt x="823888" y="361389"/>
                </a:cubicBezTo>
                <a:cubicBezTo>
                  <a:pt x="841586" y="261719"/>
                  <a:pt x="868779" y="170174"/>
                  <a:pt x="905732" y="87039"/>
                </a:cubicBezTo>
                <a:close/>
              </a:path>
            </a:pathLst>
          </a:custGeom>
          <a:solidFill>
            <a:srgbClr val="EEEA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Lato" panose="020F050202020403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F214B63-DA5A-4184-A153-52EEC409E6EE}"/>
              </a:ext>
            </a:extLst>
          </p:cNvPr>
          <p:cNvSpPr/>
          <p:nvPr userDrawn="1"/>
        </p:nvSpPr>
        <p:spPr>
          <a:xfrm>
            <a:off x="672656" y="1576685"/>
            <a:ext cx="4624921" cy="463440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id-ID" kern="0">
              <a:solidFill>
                <a:prstClr val="white"/>
              </a:solidFill>
              <a:latin typeface="Lato" panose="020F050202020403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65D5D88-A6B1-46EC-866C-4A6B62D70D64}"/>
              </a:ext>
            </a:extLst>
          </p:cNvPr>
          <p:cNvSpPr/>
          <p:nvPr userDrawn="1"/>
        </p:nvSpPr>
        <p:spPr>
          <a:xfrm>
            <a:off x="1048180" y="1272059"/>
            <a:ext cx="5096588" cy="2763907"/>
          </a:xfrm>
          <a:prstGeom prst="rect">
            <a:avLst/>
          </a:prstGeom>
          <a:noFill/>
          <a:ln w="76200" cap="flat" cmpd="sng" algn="ctr">
            <a:solidFill>
              <a:srgbClr val="EEEAD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Lato" panose="020F0502020204030203" pitchFamily="34" charset="0"/>
            </a:endParaRPr>
          </a:p>
        </p:txBody>
      </p:sp>
      <p:sp>
        <p:nvSpPr>
          <p:cNvPr id="25" name="Freeform 8">
            <a:extLst>
              <a:ext uri="{FF2B5EF4-FFF2-40B4-BE49-F238E27FC236}">
                <a16:creationId xmlns:a16="http://schemas.microsoft.com/office/drawing/2014/main" id="{E04BAD76-ECFD-40DB-A943-453FA96D507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322705" y="5425500"/>
            <a:ext cx="1860368" cy="388818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1C1C1C"/>
              </a:solidFill>
              <a:latin typeface="Lato" panose="020F0502020204030203" pitchFamily="34" charset="0"/>
            </a:endParaRPr>
          </a:p>
        </p:txBody>
      </p:sp>
      <p:pic>
        <p:nvPicPr>
          <p:cNvPr id="28" name="Picture 4" descr="C&amp;A">
            <a:extLst>
              <a:ext uri="{FF2B5EF4-FFF2-40B4-BE49-F238E27FC236}">
                <a16:creationId xmlns:a16="http://schemas.microsoft.com/office/drawing/2014/main" id="{DE102EFC-38EC-4AD9-AD51-643B6E298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7325" y="4934397"/>
            <a:ext cx="1371024" cy="137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F1F5BD6-7860-4618-8E7D-F7B3A6C3CB5E}"/>
              </a:ext>
            </a:extLst>
          </p:cNvPr>
          <p:cNvSpPr/>
          <p:nvPr userDrawn="1"/>
        </p:nvSpPr>
        <p:spPr>
          <a:xfrm>
            <a:off x="7291686" y="-134773"/>
            <a:ext cx="3344014" cy="7248730"/>
          </a:xfrm>
          <a:custGeom>
            <a:avLst/>
            <a:gdLst>
              <a:gd name="connsiteX0" fmla="*/ 1003546 w 4811413"/>
              <a:gd name="connsiteY0" fmla="*/ 0 h 7294247"/>
              <a:gd name="connsiteX1" fmla="*/ 4811413 w 4811413"/>
              <a:gd name="connsiteY1" fmla="*/ 0 h 7294247"/>
              <a:gd name="connsiteX2" fmla="*/ 4811413 w 4811413"/>
              <a:gd name="connsiteY2" fmla="*/ 7199660 h 7294247"/>
              <a:gd name="connsiteX3" fmla="*/ 4476359 w 4811413"/>
              <a:gd name="connsiteY3" fmla="*/ 7240154 h 7294247"/>
              <a:gd name="connsiteX4" fmla="*/ 4128541 w 4811413"/>
              <a:gd name="connsiteY4" fmla="*/ 7284692 h 7294247"/>
              <a:gd name="connsiteX5" fmla="*/ 3224843 w 4811413"/>
              <a:gd name="connsiteY5" fmla="*/ 6990409 h 7294247"/>
              <a:gd name="connsiteX6" fmla="*/ 2920334 w 4811413"/>
              <a:gd name="connsiteY6" fmla="*/ 6648849 h 7294247"/>
              <a:gd name="connsiteX7" fmla="*/ 2031909 w 4811413"/>
              <a:gd name="connsiteY7" fmla="*/ 6068385 h 7294247"/>
              <a:gd name="connsiteX8" fmla="*/ 1588491 w 4811413"/>
              <a:gd name="connsiteY8" fmla="*/ 5936383 h 7294247"/>
              <a:gd name="connsiteX9" fmla="*/ 890499 w 4811413"/>
              <a:gd name="connsiteY9" fmla="*/ 5193770 h 7294247"/>
              <a:gd name="connsiteX10" fmla="*/ 802852 w 4811413"/>
              <a:gd name="connsiteY10" fmla="*/ 4685680 h 7294247"/>
              <a:gd name="connsiteX11" fmla="*/ 455715 w 4811413"/>
              <a:gd name="connsiteY11" fmla="*/ 3731917 h 7294247"/>
              <a:gd name="connsiteX12" fmla="*/ 132484 w 4811413"/>
              <a:gd name="connsiteY12" fmla="*/ 3239232 h 7294247"/>
              <a:gd name="connsiteX13" fmla="*/ 121726 w 4811413"/>
              <a:gd name="connsiteY13" fmla="*/ 2261564 h 7294247"/>
              <a:gd name="connsiteX14" fmla="*/ 395160 w 4811413"/>
              <a:gd name="connsiteY14" fmla="*/ 1839663 h 7294247"/>
              <a:gd name="connsiteX15" fmla="*/ 766863 w 4811413"/>
              <a:gd name="connsiteY15" fmla="*/ 1007807 h 7294247"/>
              <a:gd name="connsiteX16" fmla="*/ 868588 w 4811413"/>
              <a:gd name="connsiteY16" fmla="*/ 380996 h 7294247"/>
              <a:gd name="connsiteX17" fmla="*/ 954873 w 4811413"/>
              <a:gd name="connsiteY17" fmla="*/ 91761 h 7294247"/>
              <a:gd name="connsiteX0" fmla="*/ 4811413 w 4899594"/>
              <a:gd name="connsiteY0" fmla="*/ 0 h 7294247"/>
              <a:gd name="connsiteX1" fmla="*/ 4811413 w 4899594"/>
              <a:gd name="connsiteY1" fmla="*/ 7199660 h 7294247"/>
              <a:gd name="connsiteX2" fmla="*/ 4476359 w 4899594"/>
              <a:gd name="connsiteY2" fmla="*/ 7240154 h 7294247"/>
              <a:gd name="connsiteX3" fmla="*/ 4128541 w 4899594"/>
              <a:gd name="connsiteY3" fmla="*/ 7284692 h 7294247"/>
              <a:gd name="connsiteX4" fmla="*/ 3224843 w 4899594"/>
              <a:gd name="connsiteY4" fmla="*/ 6990409 h 7294247"/>
              <a:gd name="connsiteX5" fmla="*/ 2920334 w 4899594"/>
              <a:gd name="connsiteY5" fmla="*/ 6648849 h 7294247"/>
              <a:gd name="connsiteX6" fmla="*/ 2031909 w 4899594"/>
              <a:gd name="connsiteY6" fmla="*/ 6068385 h 7294247"/>
              <a:gd name="connsiteX7" fmla="*/ 1588491 w 4899594"/>
              <a:gd name="connsiteY7" fmla="*/ 5936383 h 7294247"/>
              <a:gd name="connsiteX8" fmla="*/ 890499 w 4899594"/>
              <a:gd name="connsiteY8" fmla="*/ 5193770 h 7294247"/>
              <a:gd name="connsiteX9" fmla="*/ 802852 w 4899594"/>
              <a:gd name="connsiteY9" fmla="*/ 4685680 h 7294247"/>
              <a:gd name="connsiteX10" fmla="*/ 455715 w 4899594"/>
              <a:gd name="connsiteY10" fmla="*/ 3731917 h 7294247"/>
              <a:gd name="connsiteX11" fmla="*/ 132484 w 4899594"/>
              <a:gd name="connsiteY11" fmla="*/ 3239232 h 7294247"/>
              <a:gd name="connsiteX12" fmla="*/ 121726 w 4899594"/>
              <a:gd name="connsiteY12" fmla="*/ 2261564 h 7294247"/>
              <a:gd name="connsiteX13" fmla="*/ 395160 w 4899594"/>
              <a:gd name="connsiteY13" fmla="*/ 1839663 h 7294247"/>
              <a:gd name="connsiteX14" fmla="*/ 766863 w 4899594"/>
              <a:gd name="connsiteY14" fmla="*/ 1007807 h 7294247"/>
              <a:gd name="connsiteX15" fmla="*/ 868588 w 4899594"/>
              <a:gd name="connsiteY15" fmla="*/ 380996 h 7294247"/>
              <a:gd name="connsiteX16" fmla="*/ 954873 w 4899594"/>
              <a:gd name="connsiteY16" fmla="*/ 91761 h 7294247"/>
              <a:gd name="connsiteX17" fmla="*/ 1003546 w 4899594"/>
              <a:gd name="connsiteY17" fmla="*/ 0 h 7294247"/>
              <a:gd name="connsiteX18" fmla="*/ 4899594 w 4899594"/>
              <a:gd name="connsiteY18" fmla="*/ 88181 h 7294247"/>
              <a:gd name="connsiteX0" fmla="*/ 4811413 w 4811413"/>
              <a:gd name="connsiteY0" fmla="*/ 0 h 7294247"/>
              <a:gd name="connsiteX1" fmla="*/ 4811413 w 4811413"/>
              <a:gd name="connsiteY1" fmla="*/ 7199660 h 7294247"/>
              <a:gd name="connsiteX2" fmla="*/ 4476359 w 4811413"/>
              <a:gd name="connsiteY2" fmla="*/ 7240154 h 7294247"/>
              <a:gd name="connsiteX3" fmla="*/ 4128541 w 4811413"/>
              <a:gd name="connsiteY3" fmla="*/ 7284692 h 7294247"/>
              <a:gd name="connsiteX4" fmla="*/ 3224843 w 4811413"/>
              <a:gd name="connsiteY4" fmla="*/ 6990409 h 7294247"/>
              <a:gd name="connsiteX5" fmla="*/ 2920334 w 4811413"/>
              <a:gd name="connsiteY5" fmla="*/ 6648849 h 7294247"/>
              <a:gd name="connsiteX6" fmla="*/ 2031909 w 4811413"/>
              <a:gd name="connsiteY6" fmla="*/ 6068385 h 7294247"/>
              <a:gd name="connsiteX7" fmla="*/ 1588491 w 4811413"/>
              <a:gd name="connsiteY7" fmla="*/ 5936383 h 7294247"/>
              <a:gd name="connsiteX8" fmla="*/ 890499 w 4811413"/>
              <a:gd name="connsiteY8" fmla="*/ 5193770 h 7294247"/>
              <a:gd name="connsiteX9" fmla="*/ 802852 w 4811413"/>
              <a:gd name="connsiteY9" fmla="*/ 4685680 h 7294247"/>
              <a:gd name="connsiteX10" fmla="*/ 455715 w 4811413"/>
              <a:gd name="connsiteY10" fmla="*/ 3731917 h 7294247"/>
              <a:gd name="connsiteX11" fmla="*/ 132484 w 4811413"/>
              <a:gd name="connsiteY11" fmla="*/ 3239232 h 7294247"/>
              <a:gd name="connsiteX12" fmla="*/ 121726 w 4811413"/>
              <a:gd name="connsiteY12" fmla="*/ 2261564 h 7294247"/>
              <a:gd name="connsiteX13" fmla="*/ 395160 w 4811413"/>
              <a:gd name="connsiteY13" fmla="*/ 1839663 h 7294247"/>
              <a:gd name="connsiteX14" fmla="*/ 766863 w 4811413"/>
              <a:gd name="connsiteY14" fmla="*/ 1007807 h 7294247"/>
              <a:gd name="connsiteX15" fmla="*/ 868588 w 4811413"/>
              <a:gd name="connsiteY15" fmla="*/ 380996 h 7294247"/>
              <a:gd name="connsiteX16" fmla="*/ 954873 w 4811413"/>
              <a:gd name="connsiteY16" fmla="*/ 91761 h 7294247"/>
              <a:gd name="connsiteX17" fmla="*/ 1003546 w 4811413"/>
              <a:gd name="connsiteY17" fmla="*/ 0 h 7294247"/>
              <a:gd name="connsiteX0" fmla="*/ 4811413 w 4811413"/>
              <a:gd name="connsiteY0" fmla="*/ 7199660 h 7294247"/>
              <a:gd name="connsiteX1" fmla="*/ 4476359 w 4811413"/>
              <a:gd name="connsiteY1" fmla="*/ 7240154 h 7294247"/>
              <a:gd name="connsiteX2" fmla="*/ 4128541 w 4811413"/>
              <a:gd name="connsiteY2" fmla="*/ 7284692 h 7294247"/>
              <a:gd name="connsiteX3" fmla="*/ 3224843 w 4811413"/>
              <a:gd name="connsiteY3" fmla="*/ 6990409 h 7294247"/>
              <a:gd name="connsiteX4" fmla="*/ 2920334 w 4811413"/>
              <a:gd name="connsiteY4" fmla="*/ 6648849 h 7294247"/>
              <a:gd name="connsiteX5" fmla="*/ 2031909 w 4811413"/>
              <a:gd name="connsiteY5" fmla="*/ 6068385 h 7294247"/>
              <a:gd name="connsiteX6" fmla="*/ 1588491 w 4811413"/>
              <a:gd name="connsiteY6" fmla="*/ 5936383 h 7294247"/>
              <a:gd name="connsiteX7" fmla="*/ 890499 w 4811413"/>
              <a:gd name="connsiteY7" fmla="*/ 5193770 h 7294247"/>
              <a:gd name="connsiteX8" fmla="*/ 802852 w 4811413"/>
              <a:gd name="connsiteY8" fmla="*/ 4685680 h 7294247"/>
              <a:gd name="connsiteX9" fmla="*/ 455715 w 4811413"/>
              <a:gd name="connsiteY9" fmla="*/ 3731917 h 7294247"/>
              <a:gd name="connsiteX10" fmla="*/ 132484 w 4811413"/>
              <a:gd name="connsiteY10" fmla="*/ 3239232 h 7294247"/>
              <a:gd name="connsiteX11" fmla="*/ 121726 w 4811413"/>
              <a:gd name="connsiteY11" fmla="*/ 2261564 h 7294247"/>
              <a:gd name="connsiteX12" fmla="*/ 395160 w 4811413"/>
              <a:gd name="connsiteY12" fmla="*/ 1839663 h 7294247"/>
              <a:gd name="connsiteX13" fmla="*/ 766863 w 4811413"/>
              <a:gd name="connsiteY13" fmla="*/ 1007807 h 7294247"/>
              <a:gd name="connsiteX14" fmla="*/ 868588 w 4811413"/>
              <a:gd name="connsiteY14" fmla="*/ 380996 h 7294247"/>
              <a:gd name="connsiteX15" fmla="*/ 954873 w 4811413"/>
              <a:gd name="connsiteY15" fmla="*/ 91761 h 7294247"/>
              <a:gd name="connsiteX16" fmla="*/ 1003546 w 4811413"/>
              <a:gd name="connsiteY16" fmla="*/ 0 h 7294247"/>
              <a:gd name="connsiteX0" fmla="*/ 4476359 w 4476359"/>
              <a:gd name="connsiteY0" fmla="*/ 7240154 h 7294247"/>
              <a:gd name="connsiteX1" fmla="*/ 4128541 w 4476359"/>
              <a:gd name="connsiteY1" fmla="*/ 7284692 h 7294247"/>
              <a:gd name="connsiteX2" fmla="*/ 3224843 w 4476359"/>
              <a:gd name="connsiteY2" fmla="*/ 6990409 h 7294247"/>
              <a:gd name="connsiteX3" fmla="*/ 2920334 w 4476359"/>
              <a:gd name="connsiteY3" fmla="*/ 6648849 h 7294247"/>
              <a:gd name="connsiteX4" fmla="*/ 2031909 w 4476359"/>
              <a:gd name="connsiteY4" fmla="*/ 6068385 h 7294247"/>
              <a:gd name="connsiteX5" fmla="*/ 1588491 w 4476359"/>
              <a:gd name="connsiteY5" fmla="*/ 5936383 h 7294247"/>
              <a:gd name="connsiteX6" fmla="*/ 890499 w 4476359"/>
              <a:gd name="connsiteY6" fmla="*/ 5193770 h 7294247"/>
              <a:gd name="connsiteX7" fmla="*/ 802852 w 4476359"/>
              <a:gd name="connsiteY7" fmla="*/ 4685680 h 7294247"/>
              <a:gd name="connsiteX8" fmla="*/ 455715 w 4476359"/>
              <a:gd name="connsiteY8" fmla="*/ 3731917 h 7294247"/>
              <a:gd name="connsiteX9" fmla="*/ 132484 w 4476359"/>
              <a:gd name="connsiteY9" fmla="*/ 3239232 h 7294247"/>
              <a:gd name="connsiteX10" fmla="*/ 121726 w 4476359"/>
              <a:gd name="connsiteY10" fmla="*/ 2261564 h 7294247"/>
              <a:gd name="connsiteX11" fmla="*/ 395160 w 4476359"/>
              <a:gd name="connsiteY11" fmla="*/ 1839663 h 7294247"/>
              <a:gd name="connsiteX12" fmla="*/ 766863 w 4476359"/>
              <a:gd name="connsiteY12" fmla="*/ 1007807 h 7294247"/>
              <a:gd name="connsiteX13" fmla="*/ 868588 w 4476359"/>
              <a:gd name="connsiteY13" fmla="*/ 380996 h 7294247"/>
              <a:gd name="connsiteX14" fmla="*/ 954873 w 4476359"/>
              <a:gd name="connsiteY14" fmla="*/ 91761 h 7294247"/>
              <a:gd name="connsiteX15" fmla="*/ 1003546 w 4476359"/>
              <a:gd name="connsiteY15" fmla="*/ 0 h 7294247"/>
              <a:gd name="connsiteX0" fmla="*/ 4128541 w 4128541"/>
              <a:gd name="connsiteY0" fmla="*/ 7284692 h 7294247"/>
              <a:gd name="connsiteX1" fmla="*/ 3224843 w 4128541"/>
              <a:gd name="connsiteY1" fmla="*/ 6990409 h 7294247"/>
              <a:gd name="connsiteX2" fmla="*/ 2920334 w 4128541"/>
              <a:gd name="connsiteY2" fmla="*/ 6648849 h 7294247"/>
              <a:gd name="connsiteX3" fmla="*/ 2031909 w 4128541"/>
              <a:gd name="connsiteY3" fmla="*/ 6068385 h 7294247"/>
              <a:gd name="connsiteX4" fmla="*/ 1588491 w 4128541"/>
              <a:gd name="connsiteY4" fmla="*/ 5936383 h 7294247"/>
              <a:gd name="connsiteX5" fmla="*/ 890499 w 4128541"/>
              <a:gd name="connsiteY5" fmla="*/ 5193770 h 7294247"/>
              <a:gd name="connsiteX6" fmla="*/ 802852 w 4128541"/>
              <a:gd name="connsiteY6" fmla="*/ 4685680 h 7294247"/>
              <a:gd name="connsiteX7" fmla="*/ 455715 w 4128541"/>
              <a:gd name="connsiteY7" fmla="*/ 3731917 h 7294247"/>
              <a:gd name="connsiteX8" fmla="*/ 132484 w 4128541"/>
              <a:gd name="connsiteY8" fmla="*/ 3239232 h 7294247"/>
              <a:gd name="connsiteX9" fmla="*/ 121726 w 4128541"/>
              <a:gd name="connsiteY9" fmla="*/ 2261564 h 7294247"/>
              <a:gd name="connsiteX10" fmla="*/ 395160 w 4128541"/>
              <a:gd name="connsiteY10" fmla="*/ 1839663 h 7294247"/>
              <a:gd name="connsiteX11" fmla="*/ 766863 w 4128541"/>
              <a:gd name="connsiteY11" fmla="*/ 1007807 h 7294247"/>
              <a:gd name="connsiteX12" fmla="*/ 868588 w 4128541"/>
              <a:gd name="connsiteY12" fmla="*/ 380996 h 7294247"/>
              <a:gd name="connsiteX13" fmla="*/ 954873 w 4128541"/>
              <a:gd name="connsiteY13" fmla="*/ 91761 h 7294247"/>
              <a:gd name="connsiteX14" fmla="*/ 1003546 w 4128541"/>
              <a:gd name="connsiteY14" fmla="*/ 0 h 7294247"/>
              <a:gd name="connsiteX0" fmla="*/ 3224843 w 3224843"/>
              <a:gd name="connsiteY0" fmla="*/ 6990409 h 6990409"/>
              <a:gd name="connsiteX1" fmla="*/ 2920334 w 3224843"/>
              <a:gd name="connsiteY1" fmla="*/ 6648849 h 6990409"/>
              <a:gd name="connsiteX2" fmla="*/ 2031909 w 3224843"/>
              <a:gd name="connsiteY2" fmla="*/ 6068385 h 6990409"/>
              <a:gd name="connsiteX3" fmla="*/ 1588491 w 3224843"/>
              <a:gd name="connsiteY3" fmla="*/ 5936383 h 6990409"/>
              <a:gd name="connsiteX4" fmla="*/ 890499 w 3224843"/>
              <a:gd name="connsiteY4" fmla="*/ 5193770 h 6990409"/>
              <a:gd name="connsiteX5" fmla="*/ 802852 w 3224843"/>
              <a:gd name="connsiteY5" fmla="*/ 4685680 h 6990409"/>
              <a:gd name="connsiteX6" fmla="*/ 455715 w 3224843"/>
              <a:gd name="connsiteY6" fmla="*/ 3731917 h 6990409"/>
              <a:gd name="connsiteX7" fmla="*/ 132484 w 3224843"/>
              <a:gd name="connsiteY7" fmla="*/ 3239232 h 6990409"/>
              <a:gd name="connsiteX8" fmla="*/ 121726 w 3224843"/>
              <a:gd name="connsiteY8" fmla="*/ 2261564 h 6990409"/>
              <a:gd name="connsiteX9" fmla="*/ 395160 w 3224843"/>
              <a:gd name="connsiteY9" fmla="*/ 1839663 h 6990409"/>
              <a:gd name="connsiteX10" fmla="*/ 766863 w 3224843"/>
              <a:gd name="connsiteY10" fmla="*/ 1007807 h 6990409"/>
              <a:gd name="connsiteX11" fmla="*/ 868588 w 3224843"/>
              <a:gd name="connsiteY11" fmla="*/ 380996 h 6990409"/>
              <a:gd name="connsiteX12" fmla="*/ 954873 w 3224843"/>
              <a:gd name="connsiteY12" fmla="*/ 91761 h 6990409"/>
              <a:gd name="connsiteX13" fmla="*/ 1003546 w 3224843"/>
              <a:gd name="connsiteY13" fmla="*/ 0 h 6990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224843" h="6990409">
                <a:moveTo>
                  <a:pt x="3224843" y="6990409"/>
                </a:moveTo>
                <a:cubicBezTo>
                  <a:pt x="3119002" y="6880584"/>
                  <a:pt x="3017011" y="6766642"/>
                  <a:pt x="2920334" y="6648849"/>
                </a:cubicBezTo>
                <a:cubicBezTo>
                  <a:pt x="2684881" y="6361206"/>
                  <a:pt x="2393919" y="6162406"/>
                  <a:pt x="2031909" y="6068385"/>
                </a:cubicBezTo>
                <a:cubicBezTo>
                  <a:pt x="1882774" y="6029740"/>
                  <a:pt x="1735367" y="5983527"/>
                  <a:pt x="1588491" y="5936383"/>
                </a:cubicBezTo>
                <a:cubicBezTo>
                  <a:pt x="1219178" y="5818058"/>
                  <a:pt x="973499" y="5579816"/>
                  <a:pt x="890499" y="5193770"/>
                </a:cubicBezTo>
                <a:cubicBezTo>
                  <a:pt x="854246" y="5025912"/>
                  <a:pt x="825428" y="4855928"/>
                  <a:pt x="802852" y="4685680"/>
                </a:cubicBezTo>
                <a:cubicBezTo>
                  <a:pt x="757037" y="4341597"/>
                  <a:pt x="659696" y="4018764"/>
                  <a:pt x="455715" y="3731917"/>
                </a:cubicBezTo>
                <a:cubicBezTo>
                  <a:pt x="341776" y="3571894"/>
                  <a:pt x="225444" y="3411473"/>
                  <a:pt x="132484" y="3239232"/>
                </a:cubicBezTo>
                <a:cubicBezTo>
                  <a:pt x="-40024" y="2919318"/>
                  <a:pt x="-44539" y="2585727"/>
                  <a:pt x="121726" y="2261564"/>
                </a:cubicBezTo>
                <a:cubicBezTo>
                  <a:pt x="197952" y="2113228"/>
                  <a:pt x="297686" y="1975913"/>
                  <a:pt x="395160" y="1839663"/>
                </a:cubicBezTo>
                <a:cubicBezTo>
                  <a:pt x="576033" y="1587077"/>
                  <a:pt x="719188" y="1319620"/>
                  <a:pt x="766863" y="1007807"/>
                </a:cubicBezTo>
                <a:cubicBezTo>
                  <a:pt x="798868" y="798650"/>
                  <a:pt x="831669" y="589491"/>
                  <a:pt x="868588" y="380996"/>
                </a:cubicBezTo>
                <a:cubicBezTo>
                  <a:pt x="887246" y="275919"/>
                  <a:pt x="915914" y="179407"/>
                  <a:pt x="954873" y="91761"/>
                </a:cubicBezTo>
                <a:lnTo>
                  <a:pt x="1003546" y="0"/>
                </a:lnTo>
              </a:path>
            </a:pathLst>
          </a:custGeom>
          <a:noFill/>
          <a:ln w="38100" cap="flat" cmpd="sng" algn="ctr">
            <a:solidFill>
              <a:srgbClr val="2B398A">
                <a:alpha val="86000"/>
              </a:srgbClr>
            </a:solidFill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Lato" panose="020F0502020204030203" pitchFamily="34" charset="0"/>
            </a:endParaRPr>
          </a:p>
        </p:txBody>
      </p:sp>
      <p:pic>
        <p:nvPicPr>
          <p:cNvPr id="30" name="Picture 29" descr="A picture containing outdoor object, outdoor, snowboarding&#10;&#10;Description automatically generated">
            <a:extLst>
              <a:ext uri="{FF2B5EF4-FFF2-40B4-BE49-F238E27FC236}">
                <a16:creationId xmlns:a16="http://schemas.microsoft.com/office/drawing/2014/main" id="{FB784DD3-1A19-4B22-9A02-D8573431710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duotone>
              <a:srgbClr val="54545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4994786" y="-734944"/>
            <a:ext cx="7518400" cy="8119872"/>
          </a:xfrm>
          <a:custGeom>
            <a:avLst/>
            <a:gdLst>
              <a:gd name="connsiteX0" fmla="*/ 6350000 w 6350000"/>
              <a:gd name="connsiteY0" fmla="*/ 0 h 6858000"/>
              <a:gd name="connsiteX1" fmla="*/ 0 w 6350000"/>
              <a:gd name="connsiteY1" fmla="*/ 0 h 6858000"/>
              <a:gd name="connsiteX2" fmla="*/ 0 w 6350000"/>
              <a:gd name="connsiteY2" fmla="*/ 6858000 h 6858000"/>
              <a:gd name="connsiteX3" fmla="*/ 3213100 w 6350000"/>
              <a:gd name="connsiteY3" fmla="*/ 6858000 h 6858000"/>
              <a:gd name="connsiteX4" fmla="*/ 6350000 w 6350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0000" h="6858000">
                <a:moveTo>
                  <a:pt x="6350000" y="0"/>
                </a:moveTo>
                <a:lnTo>
                  <a:pt x="0" y="0"/>
                </a:lnTo>
                <a:lnTo>
                  <a:pt x="0" y="6858000"/>
                </a:lnTo>
                <a:lnTo>
                  <a:pt x="3213100" y="6858000"/>
                </a:lnTo>
                <a:lnTo>
                  <a:pt x="6350000" y="6858000"/>
                </a:lnTo>
                <a:close/>
              </a:path>
            </a:pathLst>
          </a:custGeom>
        </p:spPr>
      </p:pic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8FC68D3F-9DA5-419D-A24D-CA604841CA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346015" y="4671643"/>
            <a:ext cx="6248462" cy="372923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cap="none" baseline="0">
                <a:solidFill>
                  <a:srgbClr val="555555"/>
                </a:solidFill>
                <a:latin typeface="Lato" panose="020F0502020204030203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7E4EEB4C-43BD-4B17-9749-90BD1240C1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46015" y="4240756"/>
            <a:ext cx="6248462" cy="430887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rgbClr val="555555"/>
                </a:solidFill>
                <a:latin typeface="Lato" panose="020F0502020204030203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BDC015FD-6A42-4766-AE94-1EFDE0EED3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322706" y="1692330"/>
            <a:ext cx="3700347" cy="2289729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>
              <a:lnSpc>
                <a:spcPct val="93000"/>
              </a:lnSpc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713C0BB7-CED1-5B34-3070-88441725E23A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091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50" presetClass="entr" presetSubtype="0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P spid="25" grpId="0" animBg="1"/>
      <p:bldP spid="29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1007D07-72BD-4E7B-80B3-2DBF8C5A54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9976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007D07-72BD-4E7B-80B3-2DBF8C5A54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F228A02E-7F40-CB9F-84A2-A83E6AAE5AF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839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33F98FB-07DD-4A0B-BEA8-89EB8D72BB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844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3F98FB-07DD-4A0B-BEA8-89EB8D72B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2081212"/>
            <a:ext cx="10934700" cy="40798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BC9E3A-3458-DD51-1BB2-38594888278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21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44CA308-A78A-43A0-8DB0-15C2B9F05A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505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4CA308-A78A-43A0-8DB0-15C2B9F05A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C815AB06-3643-A709-7225-97823F703E3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19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C1FFDEC-8966-4B84-8093-725114B0D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0562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1FFDEC-8966-4B84-8093-725114B0D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2B398A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91794BE-5AB1-FFAA-1881-C2AE13CF01A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72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E72A0B-3ABD-47E3-BB51-0A9CEBB11F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8568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E72A0B-3ABD-47E3-BB51-0A9CEBB11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2B398A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2">
            <a:extLst>
              <a:ext uri="{FF2B5EF4-FFF2-40B4-BE49-F238E27FC236}">
                <a16:creationId xmlns:a16="http://schemas.microsoft.com/office/drawing/2014/main" id="{FCADF221-FF5B-A590-8225-90C54B11835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37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613300A-94F1-4DFA-8A84-793F1BCEFB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7248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13300A-94F1-4DFA-8A84-793F1BCEF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4" descr="C&amp;A">
            <a:extLst>
              <a:ext uri="{FF2B5EF4-FFF2-40B4-BE49-F238E27FC236}">
                <a16:creationId xmlns:a16="http://schemas.microsoft.com/office/drawing/2014/main" id="{AF648F0D-6E69-4278-B42E-7FE2C117638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6F8696F7-E093-5CA6-8100-E0075545F2C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164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F965249-AC91-4C66-8B74-D28791B739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650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965249-AC91-4C66-8B74-D28791B739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4" descr="C&amp;A">
            <a:extLst>
              <a:ext uri="{FF2B5EF4-FFF2-40B4-BE49-F238E27FC236}">
                <a16:creationId xmlns:a16="http://schemas.microsoft.com/office/drawing/2014/main" id="{38F83348-10D3-409A-B473-9E17CBFAE11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73E36CC-5B28-52BD-63FA-A42662A9E93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25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FA34D43-F861-40E4-86C4-09E185D87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6318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A34D43-F861-40E4-86C4-09E185D87C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4" descr="C&amp;A">
            <a:extLst>
              <a:ext uri="{FF2B5EF4-FFF2-40B4-BE49-F238E27FC236}">
                <a16:creationId xmlns:a16="http://schemas.microsoft.com/office/drawing/2014/main" id="{67677057-2101-4011-96A9-9602F544856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04D783B-B21F-B27B-A430-FF24FF29C1E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08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77674CB-385B-421D-BDC5-B6BA993596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9987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7674CB-385B-421D-BDC5-B6BA993596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4" descr="C&amp;A">
            <a:extLst>
              <a:ext uri="{FF2B5EF4-FFF2-40B4-BE49-F238E27FC236}">
                <a16:creationId xmlns:a16="http://schemas.microsoft.com/office/drawing/2014/main" id="{5C404A12-F6CC-463F-BAEC-9B634D16799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913E789D-FE34-B393-468F-95D5CF9E56CC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78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EEEAD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3B8B912-4FA3-4BCB-8190-39FC1E1DA7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2834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B8B912-4FA3-4BCB-8190-39FC1E1DA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 vert="horz"/>
          <a:lstStyle>
            <a:lvl1pPr>
              <a:defRPr sz="3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2081212"/>
            <a:ext cx="10934700" cy="40798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44727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23A035-C070-33D7-7BDB-6FEB33FF5C9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86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200B71F-2093-4E1F-A867-9E929625D8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981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00B71F-2093-4E1F-A867-9E929625D8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6" name="Picture 4" descr="C&amp;A">
            <a:extLst>
              <a:ext uri="{FF2B5EF4-FFF2-40B4-BE49-F238E27FC236}">
                <a16:creationId xmlns:a16="http://schemas.microsoft.com/office/drawing/2014/main" id="{5BF45240-B595-493E-8138-F4042C695DE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A6103CF8-D097-569E-FE4D-45D9ED377D41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16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FA6C7F-5F3B-4523-B428-C1EF76A16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168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FA6C7F-5F3B-4523-B428-C1EF76A16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6" name="Picture 4" descr="C&amp;A">
            <a:extLst>
              <a:ext uri="{FF2B5EF4-FFF2-40B4-BE49-F238E27FC236}">
                <a16:creationId xmlns:a16="http://schemas.microsoft.com/office/drawing/2014/main" id="{E1BB53A0-6EF6-4C2C-8843-1F749A0BECF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234AEB79-4C86-33BD-E3B4-73366D82D7B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648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981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0C717D9A-E3DA-46A2-94CE-5068C58672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4" descr="C&amp;A">
            <a:extLst>
              <a:ext uri="{FF2B5EF4-FFF2-40B4-BE49-F238E27FC236}">
                <a16:creationId xmlns:a16="http://schemas.microsoft.com/office/drawing/2014/main" id="{9E1510B6-BE9F-40D2-9AE0-2516A5BDC4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32301198-BCFB-2AAF-E8D1-5E10E49829E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591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FD66771-5617-4777-83C2-08DB960CB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282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D66771-5617-4777-83C2-08DB960CB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2851"/>
              </a:gs>
              <a:gs pos="100000">
                <a:srgbClr val="3471A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1" name="Picture 4" descr="C&amp;A">
            <a:extLst>
              <a:ext uri="{FF2B5EF4-FFF2-40B4-BE49-F238E27FC236}">
                <a16:creationId xmlns:a16="http://schemas.microsoft.com/office/drawing/2014/main" id="{9D744230-4A22-4FCF-86F0-A4BA418A0BF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E2E927A0-F18F-23F8-CA72-3452C6F380F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71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7789C7B-E93D-4684-B79D-63E1741857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8686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789C7B-E93D-4684-B79D-63E1741857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C&amp;A">
            <a:extLst>
              <a:ext uri="{FF2B5EF4-FFF2-40B4-BE49-F238E27FC236}">
                <a16:creationId xmlns:a16="http://schemas.microsoft.com/office/drawing/2014/main" id="{E7AE046C-0018-4A7F-956F-0592D01C9FE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8355B6B8-168B-0190-AC11-5286050D183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666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BE2CA3-5EF3-45ED-AE7F-05A4D7694D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320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BE2CA3-5EF3-45ED-AE7F-05A4D7694D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2851"/>
              </a:gs>
              <a:gs pos="100000">
                <a:srgbClr val="3471A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02ABCCCA-1B0C-4D9D-9536-FC9A3E7EDA6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F21906CB-BB71-2011-66DF-1C6DC134DB8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42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6557DD-9F4D-453E-8F85-04244AB42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29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6557DD-9F4D-453E-8F85-04244AB424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C&amp;A">
            <a:extLst>
              <a:ext uri="{FF2B5EF4-FFF2-40B4-BE49-F238E27FC236}">
                <a16:creationId xmlns:a16="http://schemas.microsoft.com/office/drawing/2014/main" id="{4D845CBB-A304-49E5-BC0F-A57E5866F87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61BB707A-B130-8124-64EB-75C4E672371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41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A37D949-B34A-41F7-9FDF-BBC45881BF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9530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37D949-B34A-41F7-9FDF-BBC45881BF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2851"/>
              </a:gs>
              <a:gs pos="100000">
                <a:srgbClr val="3471A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2" name="Picture 4" descr="C&amp;A">
            <a:extLst>
              <a:ext uri="{FF2B5EF4-FFF2-40B4-BE49-F238E27FC236}">
                <a16:creationId xmlns:a16="http://schemas.microsoft.com/office/drawing/2014/main" id="{874668CB-3F30-413D-9866-DD842B83C9B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D330C88B-8F31-6A02-CE55-BDCA131418F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211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52FF7D8-B686-4066-9910-4F307BD2F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5792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2FF7D8-B686-4066-9910-4F307BD2F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899B2E50-8DCB-43EA-A914-4BC306F5EE0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2576987-4D88-BA5D-EF3E-DAA5989A2FB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74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1633D6B-DC43-4627-A9B5-14EDAECFF4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5075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633D6B-DC43-4627-A9B5-14EDAECFF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2851"/>
              </a:gs>
              <a:gs pos="100000">
                <a:srgbClr val="3471A2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34D743F5-AF66-49DE-8589-3054480D993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7DCDCBF-BA12-3E10-35EA-53A66DFEA32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71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3B2265D-4184-46B5-94E7-6DDC60ABF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5768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2265D-4184-46B5-94E7-6DDC60ABF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42A967A7-B7EA-6CC2-538C-8D8694D232B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14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AE6EA9A-F8C8-4E76-9963-D818E5872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746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E6EA9A-F8C8-4E76-9963-D818E5872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8" name="Picture 4" descr="C&amp;A">
            <a:extLst>
              <a:ext uri="{FF2B5EF4-FFF2-40B4-BE49-F238E27FC236}">
                <a16:creationId xmlns:a16="http://schemas.microsoft.com/office/drawing/2014/main" id="{E8142027-F918-4CF4-8BF7-950862082DA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8B9BF375-080D-6936-1B83-F50DB9BF317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883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ACCE8DA-8746-45C0-AC65-FF4BD33229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5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CCE8DA-8746-45C0-AC65-FF4BD33229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2B39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5608041E-1825-F452-134B-1F1BC516549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507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61D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646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B398A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" name="Picture 4" descr="C&amp;A">
            <a:extLst>
              <a:ext uri="{FF2B5EF4-FFF2-40B4-BE49-F238E27FC236}">
                <a16:creationId xmlns:a16="http://schemas.microsoft.com/office/drawing/2014/main" id="{419F898A-9602-4E00-8D8A-65EC0D17EAA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C0473753-82D0-95BC-7E85-463F1B91BAC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20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A7815F3-70F4-49B3-A7CB-59ADED681C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5758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7815F3-70F4-49B3-A7CB-59ADED681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7" name="Picture 4" descr="C&amp;A">
            <a:extLst>
              <a:ext uri="{FF2B5EF4-FFF2-40B4-BE49-F238E27FC236}">
                <a16:creationId xmlns:a16="http://schemas.microsoft.com/office/drawing/2014/main" id="{B4F675E7-49C9-4EE7-849C-8F26AB24532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60F0ABFC-0E9B-D9A6-D74C-D8FACB2E5EA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251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D0807E2-3CAE-43D0-B120-961350E192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7038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0807E2-3CAE-43D0-B120-961350E192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84474"/>
            <a:ext cx="2819400" cy="168905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C&amp;A">
            <a:extLst>
              <a:ext uri="{FF2B5EF4-FFF2-40B4-BE49-F238E27FC236}">
                <a16:creationId xmlns:a16="http://schemas.microsoft.com/office/drawing/2014/main" id="{4B9BF55E-389B-415E-B908-39AC2F4DD0A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383A6FF-A4BE-FC51-C062-2469CE2EFD7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90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127E4FD-9970-47E0-9262-AB4FF95C6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075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27E4FD-9970-47E0-9262-AB4FF95C6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4" descr="C&amp;A">
            <a:extLst>
              <a:ext uri="{FF2B5EF4-FFF2-40B4-BE49-F238E27FC236}">
                <a16:creationId xmlns:a16="http://schemas.microsoft.com/office/drawing/2014/main" id="{D9ABD2FF-FC56-4A69-8E3B-9F27959A2F2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6BF084C-8B99-B00E-BF0E-224CB39524C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454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27211B0-6478-410D-AE07-678948D10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6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7211B0-6478-410D-AE07-678948D10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388334-F391-863F-4CC8-9E3FD0F6D5A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64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A448F4C-3EBA-493E-B37D-84A26AC795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24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448F4C-3EBA-493E-B37D-84A26AC79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2F2ABC-4383-497F-9F69-BAEB74EE83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541374" cy="3323987"/>
          </a:xfrm>
        </p:spPr>
        <p:txBody>
          <a:bodyPr anchor="ctr"/>
          <a:lstStyle>
            <a:lvl1pPr>
              <a:defRPr sz="1000"/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E7643D7-422B-8FE3-3955-19E1D773BDE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63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3546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g object 16">
            <a:extLst>
              <a:ext uri="{FF2B5EF4-FFF2-40B4-BE49-F238E27FC236}">
                <a16:creationId xmlns:a16="http://schemas.microsoft.com/office/drawing/2014/main" id="{C36AB1AA-F097-4964-8C4C-22FC2A7BBB04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pic>
        <p:nvPicPr>
          <p:cNvPr id="11" name="Picture 4" descr="C&amp;A">
            <a:extLst>
              <a:ext uri="{FF2B5EF4-FFF2-40B4-BE49-F238E27FC236}">
                <a16:creationId xmlns:a16="http://schemas.microsoft.com/office/drawing/2014/main" id="{B0196B5C-8492-415C-BC35-D55AFA66C34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71" t="16941" r="8200" b="16943"/>
          <a:stretch/>
        </p:blipFill>
        <p:spPr bwMode="auto">
          <a:xfrm>
            <a:off x="547457" y="950683"/>
            <a:ext cx="2494959" cy="196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bject 4">
            <a:extLst>
              <a:ext uri="{FF2B5EF4-FFF2-40B4-BE49-F238E27FC236}">
                <a16:creationId xmlns:a16="http://schemas.microsoft.com/office/drawing/2014/main" id="{21199E61-AE24-42E5-82C6-A654DE6480A5}"/>
              </a:ext>
            </a:extLst>
          </p:cNvPr>
          <p:cNvSpPr txBox="1"/>
          <p:nvPr userDrawn="1"/>
        </p:nvSpPr>
        <p:spPr>
          <a:xfrm>
            <a:off x="628650" y="3944239"/>
            <a:ext cx="2807715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PH" sz="3600" b="1" kern="0" spc="-15">
                <a:solidFill>
                  <a:sysClr val="windowText" lastClr="000000"/>
                </a:solidFill>
                <a:latin typeface="+mj-lt"/>
              </a:rPr>
              <a:t>Thank You!</a:t>
            </a:r>
            <a:endParaRPr sz="3600" kern="0">
              <a:solidFill>
                <a:sysClr val="windowText" lastClr="000000"/>
              </a:solidFill>
              <a:latin typeface="+mj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ABCF34-E0B6-3542-4837-E7C55C496E8D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018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A87DE59-A3CC-4DEE-A784-664A04864B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5521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87DE59-A3CC-4DEE-A784-664A04864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B93D3E47-7352-40D8-BECE-3E73ED48B912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03" name="No fly zone">
              <a:extLst>
                <a:ext uri="{FF2B5EF4-FFF2-40B4-BE49-F238E27FC236}">
                  <a16:creationId xmlns:a16="http://schemas.microsoft.com/office/drawing/2014/main" id="{2F3E99B9-D1FD-4A78-825A-41C162A1717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C7020C">
                <a:alpha val="1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104" name="Baselines / anchors">
              <a:extLst>
                <a:ext uri="{FF2B5EF4-FFF2-40B4-BE49-F238E27FC236}">
                  <a16:creationId xmlns:a16="http://schemas.microsoft.com/office/drawing/2014/main" id="{7399AF2B-DA4F-4A3C-96AA-B8FE191F7CF5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9F54583B-6EC1-4CAB-90B4-FBDB67DDF38F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D986BA16-3935-42D9-89BF-6ECBF0AD44D4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B5129C84-F55B-4B74-A18C-5496A50189F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C21ACA93-701A-492B-9481-FFD504EEFC7C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294812E0-23D2-4908-972D-02E02280B630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A7A4640C-1FF6-4042-9FB7-5F464197DF9F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EF53105A-F085-44C5-85DB-CB85E162F580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07ADB2D5-1985-459A-99D6-0B71445F054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6C50E4BA-5DD8-41C4-A362-D612FFBCCD3B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639F62DB-5EFA-4894-A599-78382EB63B8B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462C7E88-85D3-49F7-BD6B-AB8ED75383C8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8CCB9CBE-F798-4501-AC57-64831DC124C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628E9C42-701B-4E99-8132-634A4DA8A1D4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1AE9B1DD-1360-45CC-92CA-6F9F02D7786E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9231D65F-6CCB-4A69-8D83-8CF80F0DE033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546C80B1-6944-40CC-A3D4-FFAC446B4CDA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7FFA1446-B6D6-4EC2-BE93-6BDE5926BB97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F7CEFD58-9131-4F76-BDD6-1E35C18B519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57AC2D45-CCBD-439B-84F9-2A0B33695C0E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C7B35F84-674B-4E97-9D37-609BCEF4024E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utter space">
              <a:extLst>
                <a:ext uri="{FF2B5EF4-FFF2-40B4-BE49-F238E27FC236}">
                  <a16:creationId xmlns:a16="http://schemas.microsoft.com/office/drawing/2014/main" id="{CCE7C6E7-3537-4090-9431-CB6BB9D79C3B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17" name="Rectangle 34">
                <a:extLst>
                  <a:ext uri="{FF2B5EF4-FFF2-40B4-BE49-F238E27FC236}">
                    <a16:creationId xmlns:a16="http://schemas.microsoft.com/office/drawing/2014/main" id="{AE1FD3E4-ADE8-484A-83C4-BAFE699382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5">
                <a:extLst>
                  <a:ext uri="{FF2B5EF4-FFF2-40B4-BE49-F238E27FC236}">
                    <a16:creationId xmlns:a16="http://schemas.microsoft.com/office/drawing/2014/main" id="{0B37C898-62C1-41A6-B164-7A98AEB7DE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6">
                <a:extLst>
                  <a:ext uri="{FF2B5EF4-FFF2-40B4-BE49-F238E27FC236}">
                    <a16:creationId xmlns:a16="http://schemas.microsoft.com/office/drawing/2014/main" id="{497C7AE9-0AE2-432E-82F3-258AF9F771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37">
                <a:extLst>
                  <a:ext uri="{FF2B5EF4-FFF2-40B4-BE49-F238E27FC236}">
                    <a16:creationId xmlns:a16="http://schemas.microsoft.com/office/drawing/2014/main" id="{001B485A-E97D-4E1E-A563-FD075211D1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Rectangle 38">
                <a:extLst>
                  <a:ext uri="{FF2B5EF4-FFF2-40B4-BE49-F238E27FC236}">
                    <a16:creationId xmlns:a16="http://schemas.microsoft.com/office/drawing/2014/main" id="{66722CB2-7D67-425B-94B8-55DCEB7A61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Rectangle 39">
                <a:extLst>
                  <a:ext uri="{FF2B5EF4-FFF2-40B4-BE49-F238E27FC236}">
                    <a16:creationId xmlns:a16="http://schemas.microsoft.com/office/drawing/2014/main" id="{1AC91B54-1AEA-419B-9AC5-EF5FE91521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Rectangle 40">
                <a:extLst>
                  <a:ext uri="{FF2B5EF4-FFF2-40B4-BE49-F238E27FC236}">
                    <a16:creationId xmlns:a16="http://schemas.microsoft.com/office/drawing/2014/main" id="{655CDA0F-EF98-4796-9739-D12350826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Rectangle 41">
                <a:extLst>
                  <a:ext uri="{FF2B5EF4-FFF2-40B4-BE49-F238E27FC236}">
                    <a16:creationId xmlns:a16="http://schemas.microsoft.com/office/drawing/2014/main" id="{8211E8A6-7DB6-4241-A071-E43914D5E6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42">
                <a:extLst>
                  <a:ext uri="{FF2B5EF4-FFF2-40B4-BE49-F238E27FC236}">
                    <a16:creationId xmlns:a16="http://schemas.microsoft.com/office/drawing/2014/main" id="{FD83F097-523D-4C92-A36D-C16CA0CDA9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43">
                <a:extLst>
                  <a:ext uri="{FF2B5EF4-FFF2-40B4-BE49-F238E27FC236}">
                    <a16:creationId xmlns:a16="http://schemas.microsoft.com/office/drawing/2014/main" id="{481F327A-DAE9-48AC-AA56-D4BB2DEA29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44">
                <a:extLst>
                  <a:ext uri="{FF2B5EF4-FFF2-40B4-BE49-F238E27FC236}">
                    <a16:creationId xmlns:a16="http://schemas.microsoft.com/office/drawing/2014/main" id="{6F150987-AB71-4A42-942C-928A0370D0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BEBEBE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6" name="Slide edges">
              <a:extLst>
                <a:ext uri="{FF2B5EF4-FFF2-40B4-BE49-F238E27FC236}">
                  <a16:creationId xmlns:a16="http://schemas.microsoft.com/office/drawing/2014/main" id="{7F36D160-CEDB-4D66-AE3F-E9A6B230B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BE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7" name="Footnote measure">
              <a:extLst>
                <a:ext uri="{FF2B5EF4-FFF2-40B4-BE49-F238E27FC236}">
                  <a16:creationId xmlns:a16="http://schemas.microsoft.com/office/drawing/2014/main" id="{2B4DA59C-FEB5-43B4-81E1-8F277FC604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rgbClr val="DFCA51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Whitespace measure">
              <a:extLst>
                <a:ext uri="{FF2B5EF4-FFF2-40B4-BE49-F238E27FC236}">
                  <a16:creationId xmlns:a16="http://schemas.microsoft.com/office/drawing/2014/main" id="{6945C630-18B4-4355-8B48-2F6F59D62A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rgbClr val="DFCA51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9" name="Five column measure">
              <a:extLst>
                <a:ext uri="{FF2B5EF4-FFF2-40B4-BE49-F238E27FC236}">
                  <a16:creationId xmlns:a16="http://schemas.microsoft.com/office/drawing/2014/main" id="{EAE420FD-1DC2-4A9D-B422-857A1EB1E2DE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12" name="Rectangle 5">
                <a:extLst>
                  <a:ext uri="{FF2B5EF4-FFF2-40B4-BE49-F238E27FC236}">
                    <a16:creationId xmlns:a16="http://schemas.microsoft.com/office/drawing/2014/main" id="{045830C8-5234-4A28-AA1A-8A59486442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BEBEBE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7">
                <a:extLst>
                  <a:ext uri="{FF2B5EF4-FFF2-40B4-BE49-F238E27FC236}">
                    <a16:creationId xmlns:a16="http://schemas.microsoft.com/office/drawing/2014/main" id="{83151EB6-A59B-4071-9F60-F8B780BCC7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BEBEBE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9">
                <a:extLst>
                  <a:ext uri="{FF2B5EF4-FFF2-40B4-BE49-F238E27FC236}">
                    <a16:creationId xmlns:a16="http://schemas.microsoft.com/office/drawing/2014/main" id="{5CE5751D-92CE-42D3-9FA8-25820B2DEE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BEBEBE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11">
                <a:extLst>
                  <a:ext uri="{FF2B5EF4-FFF2-40B4-BE49-F238E27FC236}">
                    <a16:creationId xmlns:a16="http://schemas.microsoft.com/office/drawing/2014/main" id="{D75D0E93-D5CE-4181-9B0B-1F22A05F18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BEBEBE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Rectangle 13">
                <a:extLst>
                  <a:ext uri="{FF2B5EF4-FFF2-40B4-BE49-F238E27FC236}">
                    <a16:creationId xmlns:a16="http://schemas.microsoft.com/office/drawing/2014/main" id="{397CB25E-09AA-436A-953B-5CD7FB59A4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BEBEBE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0" name="Live area">
              <a:extLst>
                <a:ext uri="{FF2B5EF4-FFF2-40B4-BE49-F238E27FC236}">
                  <a16:creationId xmlns:a16="http://schemas.microsoft.com/office/drawing/2014/main" id="{E6CB0FC9-52CB-4E2A-87F6-4A96C255928E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C7020C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1" name="Footnote example">
              <a:extLst>
                <a:ext uri="{FF2B5EF4-FFF2-40B4-BE49-F238E27FC236}">
                  <a16:creationId xmlns:a16="http://schemas.microsoft.com/office/drawing/2014/main" id="{AACCB265-402C-41E9-A9C9-1E05BA6A675D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  <p:pic>
        <p:nvPicPr>
          <p:cNvPr id="4" name="Picture 2">
            <a:extLst>
              <a:ext uri="{FF2B5EF4-FFF2-40B4-BE49-F238E27FC236}">
                <a16:creationId xmlns:a16="http://schemas.microsoft.com/office/drawing/2014/main" id="{F7006148-984A-5D04-D276-3554A0FCC50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285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7634AE8-B96E-40B2-B27B-B3484A7B9F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646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634AE8-B96E-40B2-B27B-B3484A7B9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B035448F-9019-4492-BC1D-2BAEC2D7C0F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D5359451-E7D9-1CC4-0649-0992CC5EA779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097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3529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13" name="Picture 4" descr="C&amp;A">
            <a:extLst>
              <a:ext uri="{FF2B5EF4-FFF2-40B4-BE49-F238E27FC236}">
                <a16:creationId xmlns:a16="http://schemas.microsoft.com/office/drawing/2014/main" id="{0D37BF05-5035-4332-B40D-143F3240928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098EADEA-C43E-3B22-124B-255F44A57814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5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12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4" descr="C&amp;A">
            <a:extLst>
              <a:ext uri="{FF2B5EF4-FFF2-40B4-BE49-F238E27FC236}">
                <a16:creationId xmlns:a16="http://schemas.microsoft.com/office/drawing/2014/main" id="{5A8E6A6C-BEF6-4CDD-B454-7D7358A89CA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E891B902-5478-4EBD-6B6B-83AFE15675A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99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263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C&amp;A">
            <a:extLst>
              <a:ext uri="{FF2B5EF4-FFF2-40B4-BE49-F238E27FC236}">
                <a16:creationId xmlns:a16="http://schemas.microsoft.com/office/drawing/2014/main" id="{B78F71A9-7998-46BD-99F4-96741EF7465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D4572E8D-4FDC-64F3-053A-988E842C47D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862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400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EEEA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192896"/>
            <a:ext cx="1547143" cy="4708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8" name="Picture 4" descr="C&amp;A">
            <a:extLst>
              <a:ext uri="{FF2B5EF4-FFF2-40B4-BE49-F238E27FC236}">
                <a16:creationId xmlns:a16="http://schemas.microsoft.com/office/drawing/2014/main" id="{E691DE14-9444-457C-85CA-492C1D008B9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53FA03E-D3D6-43CE-A80F-BD51D211004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704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989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2B398A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2B398A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rgbClr val="2B398A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74305F-188F-6E29-DD91-52759BBF80EF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90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822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2B398A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2B398A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7691F5-4343-B5D5-1061-A7E135CDA72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645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040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2B398A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211FEC88-4F5C-2590-534E-6A9551E42A7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86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9710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801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pic>
        <p:nvPicPr>
          <p:cNvPr id="8" name="Picture 4" descr="C&amp;A">
            <a:extLst>
              <a:ext uri="{FF2B5EF4-FFF2-40B4-BE49-F238E27FC236}">
                <a16:creationId xmlns:a16="http://schemas.microsoft.com/office/drawing/2014/main" id="{A0C2F2DE-4198-471B-8138-52FFBCB014D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2410251-20AF-7180-F628-F0835591BF52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75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1310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84474"/>
            <a:ext cx="2819400" cy="168905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&amp;A">
            <a:extLst>
              <a:ext uri="{FF2B5EF4-FFF2-40B4-BE49-F238E27FC236}">
                <a16:creationId xmlns:a16="http://schemas.microsoft.com/office/drawing/2014/main" id="{C1F71684-E417-49A0-A83A-50EDB4BA6B6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F183F6-D1DF-B4D1-145B-B35CEBECB518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255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Agenda 1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379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B6C17D00-9870-4B15-854B-D5FFE6B2C61E}"/>
              </a:ext>
            </a:extLst>
          </p:cNvPr>
          <p:cNvPicPr/>
          <p:nvPr userDrawn="1"/>
        </p:nvPicPr>
        <p:blipFill>
          <a:blip r:embed="rId7" cstate="print"/>
          <a:srcRect l="45279" r="21250"/>
          <a:stretch>
            <a:fillRect/>
          </a:stretch>
        </p:blipFill>
        <p:spPr>
          <a:xfrm>
            <a:off x="0" y="0"/>
            <a:ext cx="4080763" cy="6857997"/>
          </a:xfrm>
          <a:custGeom>
            <a:avLst/>
            <a:gdLst>
              <a:gd name="connsiteX0" fmla="*/ 0 w 4080763"/>
              <a:gd name="connsiteY0" fmla="*/ 0 h 6857997"/>
              <a:gd name="connsiteX1" fmla="*/ 4080763 w 4080763"/>
              <a:gd name="connsiteY1" fmla="*/ 0 h 6857997"/>
              <a:gd name="connsiteX2" fmla="*/ 4080763 w 4080763"/>
              <a:gd name="connsiteY2" fmla="*/ 6857997 h 6857997"/>
              <a:gd name="connsiteX3" fmla="*/ 0 w 4080763"/>
              <a:gd name="connsiteY3" fmla="*/ 6857997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80763" h="6857997">
                <a:moveTo>
                  <a:pt x="0" y="0"/>
                </a:moveTo>
                <a:lnTo>
                  <a:pt x="4080763" y="0"/>
                </a:lnTo>
                <a:lnTo>
                  <a:pt x="4080763" y="6857997"/>
                </a:lnTo>
                <a:lnTo>
                  <a:pt x="0" y="6857997"/>
                </a:lnTo>
                <a:close/>
              </a:path>
            </a:pathLst>
          </a:custGeom>
        </p:spPr>
      </p:pic>
      <p:sp>
        <p:nvSpPr>
          <p:cNvPr id="9" name="Overlay">
            <a:extLst>
              <a:ext uri="{FF2B5EF4-FFF2-40B4-BE49-F238E27FC236}">
                <a16:creationId xmlns:a16="http://schemas.microsoft.com/office/drawing/2014/main" id="{AC90AA60-4BA2-499E-A8E8-8E87FE98CE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4080763" cy="6857997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5F2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057F792A-AD1A-480D-B81A-9EC567CE6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1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11" name="Picture 4" descr="C&amp;A">
            <a:extLst>
              <a:ext uri="{FF2B5EF4-FFF2-40B4-BE49-F238E27FC236}">
                <a16:creationId xmlns:a16="http://schemas.microsoft.com/office/drawing/2014/main" id="{F23D1E33-D2AA-4195-B7E5-15D8C6BE611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6E4F4C0-67C7-40D9-BE24-AFF173081C7B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6A0C614-CFD9-A21C-FD27-AF97961FE644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048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09CE65-2D35-4E5C-9C4B-E23A5E6B56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7744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09CE65-2D35-4E5C-9C4B-E23A5E6B56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4" descr="C&amp;A">
            <a:extLst>
              <a:ext uri="{FF2B5EF4-FFF2-40B4-BE49-F238E27FC236}">
                <a16:creationId xmlns:a16="http://schemas.microsoft.com/office/drawing/2014/main" id="{B8D4E16D-E01D-4608-80F6-49330794D3F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40C034DE-AA62-2189-159B-C9B05142CFB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56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Agend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072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object 2">
            <a:extLst>
              <a:ext uri="{FF2B5EF4-FFF2-40B4-BE49-F238E27FC236}">
                <a16:creationId xmlns:a16="http://schemas.microsoft.com/office/drawing/2014/main" id="{CCACE979-2565-4353-8F1B-DEF9A271939B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12191999" cy="6857997"/>
          </a:xfrm>
          <a:prstGeom prst="rect">
            <a:avLst/>
          </a:prstGeom>
        </p:spPr>
      </p:pic>
      <p:sp>
        <p:nvSpPr>
          <p:cNvPr id="14" name="Overlay">
            <a:extLst>
              <a:ext uri="{FF2B5EF4-FFF2-40B4-BE49-F238E27FC236}">
                <a16:creationId xmlns:a16="http://schemas.microsoft.com/office/drawing/2014/main" id="{6EFA945C-85C8-499A-AFF8-D3F80186C4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91999" cy="6857997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54A42E-1CBD-4264-A841-FE40D2DD890D}"/>
              </a:ext>
            </a:extLst>
          </p:cNvPr>
          <p:cNvSpPr/>
          <p:nvPr userDrawn="1"/>
        </p:nvSpPr>
        <p:spPr>
          <a:xfrm>
            <a:off x="0" y="0"/>
            <a:ext cx="4308750" cy="685800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0F5CD2CF-467B-4B27-A023-02D8879802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000">
                <a:solidFill>
                  <a:schemeClr val="tx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8" name="Picture 4" descr="C&amp;A">
            <a:extLst>
              <a:ext uri="{FF2B5EF4-FFF2-40B4-BE49-F238E27FC236}">
                <a16:creationId xmlns:a16="http://schemas.microsoft.com/office/drawing/2014/main" id="{176DD14B-A160-4C2A-BED6-F59B1E960BA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AF9D65F-E77C-4C6B-B1B5-A9795A70C877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AFAFA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AFAFA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94AF377-81FA-D051-4C6B-165D4AEBC14E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76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6958-D78A-4899-49D2-0A0F00C62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6D3A4-88E6-1405-A825-5BD341122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469F6-ECB5-55B3-DE85-131F0612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DAFA-91E5-5041-8A6F-F1954D78DFD6}" type="datetimeFigureOut">
              <a:rPr lang="en-US" smtClean="0"/>
              <a:t>10/24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78E1E-89E1-FD6B-61D9-E5363A474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73657-82BE-4D2A-0305-36B5D0E48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056B8F-DFAE-E646-BC01-20389110310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1E5A4E6-A7E6-FC2E-7747-03C34B0DEE7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176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63780D9-0DCA-4A64-B033-65DF23ECE0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132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3780D9-0DCA-4A64-B033-65DF23ECE0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EEEA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9" name="Picture 4" descr="C&amp;A">
            <a:extLst>
              <a:ext uri="{FF2B5EF4-FFF2-40B4-BE49-F238E27FC236}">
                <a16:creationId xmlns:a16="http://schemas.microsoft.com/office/drawing/2014/main" id="{3F129BD3-9006-45FC-809F-BBF4AAE8659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DB981151-BD57-E39E-4BAB-175C204570DF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792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62851"/>
            </a:gs>
            <a:gs pos="100000">
              <a:srgbClr val="3471A2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1CC83EC-B6B0-4E09-BE6B-48CA06B90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913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CC83EC-B6B0-4E09-BE6B-48CA06B90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EEEA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544728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5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4" descr="C&amp;A">
            <a:extLst>
              <a:ext uri="{FF2B5EF4-FFF2-40B4-BE49-F238E27FC236}">
                <a16:creationId xmlns:a16="http://schemas.microsoft.com/office/drawing/2014/main" id="{C5ABEF52-4827-44D0-88EF-734DF504737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7EAC703D-36F5-C01F-2A86-5C23A29E8CC4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483352" y="6609080"/>
            <a:ext cx="1225296" cy="19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463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4186897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270" imgH="270" progId="TCLayout.ActiveDocument.1">
                  <p:embed/>
                </p:oleObj>
              </mc:Choice>
              <mc:Fallback>
                <p:oleObj name="think-cell Slide" r:id="rId7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2081213"/>
            <a:ext cx="10934700" cy="4079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pic>
        <p:nvPicPr>
          <p:cNvPr id="13" name="Picture 4" descr="C&amp;A">
            <a:extLst>
              <a:ext uri="{FF2B5EF4-FFF2-40B4-BE49-F238E27FC236}">
                <a16:creationId xmlns:a16="http://schemas.microsoft.com/office/drawing/2014/main" id="{7336DCD7-41FC-4F89-8DED-F8AFD0BF7E8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4" t="17693" r="7631" b="18001"/>
          <a:stretch/>
        </p:blipFill>
        <p:spPr bwMode="auto">
          <a:xfrm>
            <a:off x="11654173" y="6339105"/>
            <a:ext cx="371857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07182B9-D3A3-40D0-9C69-ADB13CD22DB0}"/>
              </a:ext>
            </a:extLst>
          </p:cNvPr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100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  <p:sldLayoutId id="2147485247" r:id="rId62"/>
    <p:sldLayoutId id="2147485248" r:id="rId63"/>
    <p:sldLayoutId id="2147485249" r:id="rId64"/>
    <p:sldLayoutId id="2147485250" r:id="rId65"/>
    <p:sldLayoutId id="2147485251" r:id="rId66"/>
    <p:sldLayoutId id="2147485252" r:id="rId67"/>
    <p:sldLayoutId id="2147485253" r:id="rId68"/>
    <p:sldLayoutId id="2147485254" r:id="rId69"/>
    <p:sldLayoutId id="2147485255" r:id="rId70"/>
    <p:sldLayoutId id="2147485256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2B398A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2B398A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649224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2B398A"/>
        </a:buClr>
        <a:buFont typeface="Lato" panose="020F0502020204030203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2B398A"/>
        </a:buClr>
        <a:buFont typeface="Arial" panose="020B0604020202020204" pitchFamily="34" charset="0"/>
        <a:buChar char="​"/>
        <a:defRPr lang="en-US" sz="1600" b="1" kern="1200">
          <a:solidFill>
            <a:srgbClr val="2B398A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2B398A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2B398A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2B398A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2B398A"/>
        </a:buClr>
        <a:buFont typeface="Arial" panose="020B0604020202020204" pitchFamily="34" charset="0"/>
        <a:buChar char="​"/>
        <a:defRPr lang="en-US" sz="5400" b="1" kern="1200" baseline="0" smtClean="0">
          <a:solidFill>
            <a:srgbClr val="2B398A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2B398A"/>
        </a:buClr>
        <a:buFont typeface="Arial" panose="020B0604020202020204" pitchFamily="34" charset="0"/>
        <a:buChar char="​"/>
        <a:defRPr lang="en-US" sz="2400" b="1" kern="1200" baseline="0" dirty="0">
          <a:solidFill>
            <a:srgbClr val="2B398A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54.xml"/><Relationship Id="rId7" Type="http://schemas.openxmlformats.org/officeDocument/2006/relationships/image" Target="../media/image18.emf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10" Type="http://schemas.openxmlformats.org/officeDocument/2006/relationships/oleObject" Target="../embeddings/oleObject21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AA31011-23E8-DE99-7AC5-75EADF9758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AA31011-23E8-DE99-7AC5-75EADF975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3E99F362-C95B-BB50-DE65-7EDEE4A4F389}"/>
              </a:ext>
            </a:extLst>
          </p:cNvPr>
          <p:cNvSpPr/>
          <p:nvPr/>
        </p:nvSpPr>
        <p:spPr>
          <a:xfrm>
            <a:off x="788986" y="1857375"/>
            <a:ext cx="10810875" cy="4400550"/>
          </a:xfrm>
          <a:prstGeom prst="roundRect">
            <a:avLst>
              <a:gd name="adj" fmla="val 2087"/>
            </a:avLst>
          </a:prstGeom>
          <a:solidFill>
            <a:schemeClr val="tx2"/>
          </a:solidFill>
          <a:ln w="9525" cap="rnd" cmpd="sng" algn="ctr">
            <a:solidFill>
              <a:srgbClr val="2B398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0BBDA5-50CA-3D59-5D52-5B2FE18B27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622300"/>
            <a:ext cx="10933112" cy="941796"/>
          </a:xfrm>
        </p:spPr>
        <p:txBody>
          <a:bodyPr vert="horz"/>
          <a:lstStyle/>
          <a:p>
            <a:r>
              <a:rPr lang="en-US"/>
              <a:t>We started to build a comprehensive data–model pipeline, leveraging BCG’s markdown cod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491B8E1-5353-03D9-1776-84C2A8606C3E}"/>
              </a:ext>
            </a:extLst>
          </p:cNvPr>
          <p:cNvSpPr/>
          <p:nvPr/>
        </p:nvSpPr>
        <p:spPr>
          <a:xfrm>
            <a:off x="752474" y="1857375"/>
            <a:ext cx="10810875" cy="4400550"/>
          </a:xfrm>
          <a:prstGeom prst="roundRect">
            <a:avLst>
              <a:gd name="adj" fmla="val 2087"/>
            </a:avLst>
          </a:prstGeom>
          <a:solidFill>
            <a:srgbClr val="EEEAD8"/>
          </a:solidFill>
          <a:ln w="9525" cap="rnd" cmpd="sng" algn="ctr">
            <a:solidFill>
              <a:srgbClr val="2B398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9B9F59AF-80BA-CE23-5B05-B5F39659CAFF}"/>
              </a:ext>
            </a:extLst>
          </p:cNvPr>
          <p:cNvSpPr/>
          <p:nvPr/>
        </p:nvSpPr>
        <p:spPr>
          <a:xfrm flipH="1">
            <a:off x="630236" y="1943100"/>
            <a:ext cx="122238" cy="100011"/>
          </a:xfrm>
          <a:prstGeom prst="rtTriangle">
            <a:avLst/>
          </a:prstGeom>
          <a:solidFill>
            <a:schemeClr val="tx2">
              <a:lumMod val="50000"/>
            </a:schemeClr>
          </a:solidFill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EB8A2969-3681-9FE4-3B84-0C497510C552}"/>
              </a:ext>
            </a:extLst>
          </p:cNvPr>
          <p:cNvSpPr/>
          <p:nvPr/>
        </p:nvSpPr>
        <p:spPr>
          <a:xfrm rot="5400000">
            <a:off x="-580233" y="3253582"/>
            <a:ext cx="4029078" cy="1608137"/>
          </a:xfrm>
          <a:prstGeom prst="round2SameRect">
            <a:avLst>
              <a:gd name="adj1" fmla="val 5789"/>
              <a:gd name="adj2" fmla="val 0"/>
            </a:avLst>
          </a:prstGeom>
          <a:solidFill>
            <a:srgbClr val="2B398A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9D4A7C6-1E98-F476-64A8-1804C76E777D}"/>
              </a:ext>
            </a:extLst>
          </p:cNvPr>
          <p:cNvSpPr/>
          <p:nvPr/>
        </p:nvSpPr>
        <p:spPr>
          <a:xfrm flipH="1" flipV="1">
            <a:off x="630236" y="6072189"/>
            <a:ext cx="122238" cy="100011"/>
          </a:xfrm>
          <a:prstGeom prst="rtTriangle">
            <a:avLst/>
          </a:prstGeom>
          <a:solidFill>
            <a:schemeClr val="tx2">
              <a:lumMod val="50000"/>
            </a:schemeClr>
          </a:solidFill>
          <a:ln w="9525" cap="rnd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0E0EC044-A862-ACEA-E7AE-21A2FBE1EAC8}"/>
              </a:ext>
            </a:extLst>
          </p:cNvPr>
          <p:cNvSpPr/>
          <p:nvPr/>
        </p:nvSpPr>
        <p:spPr>
          <a:xfrm>
            <a:off x="2428875" y="2043111"/>
            <a:ext cx="2129790" cy="1294258"/>
          </a:xfrm>
          <a:prstGeom prst="roundRect">
            <a:avLst>
              <a:gd name="adj" fmla="val 7065"/>
            </a:avLst>
          </a:prstGeom>
          <a:solidFill>
            <a:schemeClr val="accent6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srgbClr val="FFFFFF"/>
                </a:solidFill>
              </a:rPr>
              <a:t>Bronze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FB96BB36-A5C4-98FB-A464-5B4DB5EEC86A}"/>
              </a:ext>
            </a:extLst>
          </p:cNvPr>
          <p:cNvSpPr/>
          <p:nvPr/>
        </p:nvSpPr>
        <p:spPr>
          <a:xfrm>
            <a:off x="4741545" y="2043111"/>
            <a:ext cx="2129790" cy="1294258"/>
          </a:xfrm>
          <a:prstGeom prst="roundRect">
            <a:avLst>
              <a:gd name="adj" fmla="val 7065"/>
            </a:avLst>
          </a:prstGeom>
          <a:solidFill>
            <a:schemeClr val="accent5">
              <a:lumMod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srgbClr val="FFFFFF"/>
                </a:solidFill>
              </a:rPr>
              <a:t>Silver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106EFB5E-7B92-029F-063F-4D445399EF3F}"/>
              </a:ext>
            </a:extLst>
          </p:cNvPr>
          <p:cNvSpPr/>
          <p:nvPr/>
        </p:nvSpPr>
        <p:spPr>
          <a:xfrm>
            <a:off x="7054214" y="2043111"/>
            <a:ext cx="2129790" cy="1294258"/>
          </a:xfrm>
          <a:prstGeom prst="roundRect">
            <a:avLst>
              <a:gd name="adj" fmla="val 7065"/>
            </a:avLst>
          </a:prstGeom>
          <a:solidFill>
            <a:schemeClr val="accent3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srgbClr val="FFFFFF"/>
                </a:solidFill>
              </a:rPr>
              <a:t>Gold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D40709E0-7B0A-6B9F-B0CA-AB6FA1735B19}"/>
              </a:ext>
            </a:extLst>
          </p:cNvPr>
          <p:cNvSpPr/>
          <p:nvPr/>
        </p:nvSpPr>
        <p:spPr>
          <a:xfrm>
            <a:off x="9366885" y="2043111"/>
            <a:ext cx="2129790" cy="1294258"/>
          </a:xfrm>
          <a:prstGeom prst="roundRect">
            <a:avLst>
              <a:gd name="adj" fmla="val 7065"/>
            </a:avLst>
          </a:prstGeom>
          <a:solidFill>
            <a:schemeClr val="tx2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schemeClr val="tx2"/>
                </a:solidFill>
              </a:rPr>
              <a:t>Diamon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27D0E0C-1D53-456D-F702-AF95CA9CD59D}"/>
              </a:ext>
            </a:extLst>
          </p:cNvPr>
          <p:cNvSpPr/>
          <p:nvPr/>
        </p:nvSpPr>
        <p:spPr>
          <a:xfrm>
            <a:off x="630236" y="2043111"/>
            <a:ext cx="1608138" cy="12942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>
                    <a:lumMod val="60000"/>
                    <a:lumOff val="4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576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solidFill>
                  <a:srgbClr val="FFFFFF"/>
                </a:solidFill>
              </a:rPr>
              <a:t>Data Pipelin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FD47507-D3F2-F856-3240-0CCF5E7A8AC8}"/>
              </a:ext>
            </a:extLst>
          </p:cNvPr>
          <p:cNvSpPr/>
          <p:nvPr/>
        </p:nvSpPr>
        <p:spPr>
          <a:xfrm>
            <a:off x="2428875" y="5181600"/>
            <a:ext cx="2129790" cy="8905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B398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Rebuilt pipeline in another coding framework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D801BED-409B-21F4-FB75-59266DAF098D}"/>
              </a:ext>
            </a:extLst>
          </p:cNvPr>
          <p:cNvSpPr/>
          <p:nvPr/>
        </p:nvSpPr>
        <p:spPr>
          <a:xfrm>
            <a:off x="4741545" y="5181600"/>
            <a:ext cx="2129790" cy="8905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B398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Leveraged MD’s code to create new features and to rewrite it to another framework, with the help of other clients’ D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9139420-E53B-FFE8-16FC-3B62E56E9722}"/>
              </a:ext>
            </a:extLst>
          </p:cNvPr>
          <p:cNvSpPr/>
          <p:nvPr/>
        </p:nvSpPr>
        <p:spPr>
          <a:xfrm>
            <a:off x="7054214" y="5181600"/>
            <a:ext cx="2129790" cy="8905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B398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Leveraged client’s bandwidth to rewrite MD’s code to another framework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659631F-8610-AE9E-6DE9-E9AE33612C21}"/>
              </a:ext>
            </a:extLst>
          </p:cNvPr>
          <p:cNvSpPr/>
          <p:nvPr/>
        </p:nvSpPr>
        <p:spPr>
          <a:xfrm>
            <a:off x="9366885" y="5181600"/>
            <a:ext cx="2129790" cy="8905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B398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Leveraged client’s bandwidth to rewrite MD’s code to another framework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5D79D14-26A2-0743-5DE8-6322AB6699AE}"/>
              </a:ext>
            </a:extLst>
          </p:cNvPr>
          <p:cNvSpPr/>
          <p:nvPr/>
        </p:nvSpPr>
        <p:spPr>
          <a:xfrm>
            <a:off x="630236" y="5181600"/>
            <a:ext cx="1608138" cy="8905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B398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8640" rIns="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solidFill>
                  <a:srgbClr val="FFFFFF"/>
                </a:solidFill>
              </a:rPr>
              <a:t>Statu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CBF17E5-0ACF-E2C7-92BD-29ECDE4DFA87}"/>
              </a:ext>
            </a:extLst>
          </p:cNvPr>
          <p:cNvSpPr/>
          <p:nvPr/>
        </p:nvSpPr>
        <p:spPr>
          <a:xfrm>
            <a:off x="2428875" y="3481207"/>
            <a:ext cx="2129790" cy="12942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B398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0040" lvl="1" indent="-219456">
              <a:buClr>
                <a:srgbClr val="2B398A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Raw ingestion with minimal transformation</a:t>
            </a:r>
          </a:p>
          <a:p>
            <a:pPr marL="320040" lvl="1" indent="-219456">
              <a:buClr>
                <a:srgbClr val="2B398A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Often a direct dump from operational systems or event log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D465CDB-DA99-CD63-3E31-6139D00F4F12}"/>
              </a:ext>
            </a:extLst>
          </p:cNvPr>
          <p:cNvSpPr/>
          <p:nvPr/>
        </p:nvSpPr>
        <p:spPr>
          <a:xfrm>
            <a:off x="4741545" y="3481207"/>
            <a:ext cx="2129790" cy="12942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B398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0040" lvl="1" indent="-219456">
              <a:buClr>
                <a:srgbClr val="2B398A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Cleaned, deduplicated, and conformed data</a:t>
            </a:r>
          </a:p>
          <a:p>
            <a:pPr marL="320040" lvl="1" indent="-219456">
              <a:buClr>
                <a:srgbClr val="2B398A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Standardized schemas and business rules applied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53568BF-4EF7-5B7B-1057-6C8F22606CA2}"/>
              </a:ext>
            </a:extLst>
          </p:cNvPr>
          <p:cNvSpPr/>
          <p:nvPr/>
        </p:nvSpPr>
        <p:spPr>
          <a:xfrm>
            <a:off x="7054214" y="3481207"/>
            <a:ext cx="2129790" cy="12942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B398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0040" lvl="1" indent="-219456">
              <a:buClr>
                <a:srgbClr val="2B398A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Aggregated, feature-rich datasets ready for reporting or ML models</a:t>
            </a:r>
          </a:p>
          <a:p>
            <a:pPr marL="320040" lvl="1" indent="-219456">
              <a:buClr>
                <a:srgbClr val="2B398A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Designed around business entities and KPI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180D2DF-A404-3828-C028-3AC8F35FEB9C}"/>
              </a:ext>
            </a:extLst>
          </p:cNvPr>
          <p:cNvSpPr/>
          <p:nvPr/>
        </p:nvSpPr>
        <p:spPr>
          <a:xfrm>
            <a:off x="9366885" y="3481207"/>
            <a:ext cx="2129790" cy="12942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B398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0040" lvl="1" indent="-219456">
              <a:buClr>
                <a:srgbClr val="2B398A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Advanced, purpose-built datasets</a:t>
            </a:r>
          </a:p>
          <a:p>
            <a:pPr marL="320040" lvl="1" indent="-219456">
              <a:buClr>
                <a:srgbClr val="2B398A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Usually domain-optimized or decision-grade</a:t>
            </a:r>
          </a:p>
          <a:p>
            <a:pPr marL="320040" lvl="1" indent="-219456">
              <a:buClr>
                <a:srgbClr val="2B398A"/>
              </a:buClr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Examples are predictive, prescriptive, or governed “single source of truth”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4D3301E-AF54-4EFD-B471-0BBE5206C66C}"/>
              </a:ext>
            </a:extLst>
          </p:cNvPr>
          <p:cNvSpPr/>
          <p:nvPr/>
        </p:nvSpPr>
        <p:spPr>
          <a:xfrm>
            <a:off x="630236" y="3481207"/>
            <a:ext cx="1608138" cy="12942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>
                    <a:lumMod val="60000"/>
                    <a:lumOff val="4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B398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>
                <a:solidFill>
                  <a:srgbClr val="FFFFFF"/>
                </a:solidFill>
              </a:rPr>
              <a:t>Objective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31C77E32-E480-32A7-3580-60C67E166391}"/>
              </a:ext>
            </a:extLst>
          </p:cNvPr>
          <p:cNvCxnSpPr/>
          <p:nvPr/>
        </p:nvCxnSpPr>
        <p:spPr>
          <a:xfrm>
            <a:off x="2428875" y="3409288"/>
            <a:ext cx="9067800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FF183140-48FE-581A-887C-1DB82DF8BED9}"/>
              </a:ext>
            </a:extLst>
          </p:cNvPr>
          <p:cNvCxnSpPr>
            <a:cxnSpLocks/>
          </p:cNvCxnSpPr>
          <p:nvPr/>
        </p:nvCxnSpPr>
        <p:spPr>
          <a:xfrm>
            <a:off x="630236" y="4978532"/>
            <a:ext cx="1608138" cy="0"/>
          </a:xfrm>
          <a:prstGeom prst="line">
            <a:avLst/>
          </a:prstGeom>
          <a:ln w="95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67E4D9F8-4491-1CBC-84E1-D92A04B154A0}"/>
              </a:ext>
            </a:extLst>
          </p:cNvPr>
          <p:cNvCxnSpPr>
            <a:cxnSpLocks/>
          </p:cNvCxnSpPr>
          <p:nvPr/>
        </p:nvCxnSpPr>
        <p:spPr>
          <a:xfrm>
            <a:off x="630236" y="3409288"/>
            <a:ext cx="1608138" cy="0"/>
          </a:xfrm>
          <a:prstGeom prst="line">
            <a:avLst/>
          </a:prstGeom>
          <a:ln w="9525" cap="rnd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bcgIconsWhite_S-Curve 2">
            <a:extLst>
              <a:ext uri="{FF2B5EF4-FFF2-40B4-BE49-F238E27FC236}">
                <a16:creationId xmlns:a16="http://schemas.microsoft.com/office/drawing/2014/main" id="{1B286BDC-BEFD-7A2A-E486-8F974441CDCA}"/>
              </a:ext>
            </a:extLst>
          </p:cNvPr>
          <p:cNvGrpSpPr>
            <a:grpSpLocks noChangeAspect="1"/>
          </p:cNvGrpSpPr>
          <p:nvPr/>
        </p:nvGrpSpPr>
        <p:grpSpPr>
          <a:xfrm>
            <a:off x="1182603" y="2225991"/>
            <a:ext cx="503405" cy="502920"/>
            <a:chOff x="5272881" y="2606675"/>
            <a:chExt cx="1646238" cy="1644650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BE506984-6F2A-A354-2848-C26F1B0B0A2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881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9">
              <a:extLst>
                <a:ext uri="{FF2B5EF4-FFF2-40B4-BE49-F238E27FC236}">
                  <a16:creationId xmlns:a16="http://schemas.microsoft.com/office/drawing/2014/main" id="{50BA7E14-02D8-0919-0F25-CBA480831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2744" y="2962275"/>
              <a:ext cx="1306513" cy="933450"/>
            </a:xfrm>
            <a:custGeom>
              <a:avLst/>
              <a:gdLst>
                <a:gd name="connsiteX0" fmla="*/ 235744 w 1306513"/>
                <a:gd name="connsiteY0" fmla="*/ 669925 h 933450"/>
                <a:gd name="connsiteX1" fmla="*/ 289792 w 1306513"/>
                <a:gd name="connsiteY1" fmla="*/ 713957 h 933450"/>
                <a:gd name="connsiteX2" fmla="*/ 290513 w 1306513"/>
                <a:gd name="connsiteY2" fmla="*/ 723900 h 933450"/>
                <a:gd name="connsiteX3" fmla="*/ 286189 w 1306513"/>
                <a:gd name="connsiteY3" fmla="*/ 745206 h 933450"/>
                <a:gd name="connsiteX4" fmla="*/ 235744 w 1306513"/>
                <a:gd name="connsiteY4" fmla="*/ 777875 h 933450"/>
                <a:gd name="connsiteX5" fmla="*/ 180975 w 1306513"/>
                <a:gd name="connsiteY5" fmla="*/ 723900 h 933450"/>
                <a:gd name="connsiteX6" fmla="*/ 235744 w 1306513"/>
                <a:gd name="connsiteY6" fmla="*/ 669925 h 933450"/>
                <a:gd name="connsiteX7" fmla="*/ 608842 w 1306513"/>
                <a:gd name="connsiteY7" fmla="*/ 539750 h 933450"/>
                <a:gd name="connsiteX8" fmla="*/ 638175 w 1306513"/>
                <a:gd name="connsiteY8" fmla="*/ 551176 h 933450"/>
                <a:gd name="connsiteX9" fmla="*/ 413526 w 1306513"/>
                <a:gd name="connsiteY9" fmla="*/ 733985 h 933450"/>
                <a:gd name="connsiteX10" fmla="*/ 319087 w 1306513"/>
                <a:gd name="connsiteY10" fmla="*/ 746125 h 933450"/>
                <a:gd name="connsiteX11" fmla="*/ 321949 w 1306513"/>
                <a:gd name="connsiteY11" fmla="*/ 723988 h 933450"/>
                <a:gd name="connsiteX12" fmla="*/ 321234 w 1306513"/>
                <a:gd name="connsiteY12" fmla="*/ 714705 h 933450"/>
                <a:gd name="connsiteX13" fmla="*/ 407087 w 1306513"/>
                <a:gd name="connsiteY13" fmla="*/ 703279 h 933450"/>
                <a:gd name="connsiteX14" fmla="*/ 608842 w 1306513"/>
                <a:gd name="connsiteY14" fmla="*/ 539750 h 933450"/>
                <a:gd name="connsiteX15" fmla="*/ 653256 w 1306513"/>
                <a:gd name="connsiteY15" fmla="*/ 412750 h 933450"/>
                <a:gd name="connsiteX16" fmla="*/ 655418 w 1306513"/>
                <a:gd name="connsiteY16" fmla="*/ 412750 h 933450"/>
                <a:gd name="connsiteX17" fmla="*/ 684964 w 1306513"/>
                <a:gd name="connsiteY17" fmla="*/ 422693 h 933450"/>
                <a:gd name="connsiteX18" fmla="*/ 708025 w 1306513"/>
                <a:gd name="connsiteY18" fmla="*/ 466725 h 933450"/>
                <a:gd name="connsiteX19" fmla="*/ 653256 w 1306513"/>
                <a:gd name="connsiteY19" fmla="*/ 520700 h 933450"/>
                <a:gd name="connsiteX20" fmla="*/ 651094 w 1306513"/>
                <a:gd name="connsiteY20" fmla="*/ 520700 h 933450"/>
                <a:gd name="connsiteX21" fmla="*/ 621547 w 1306513"/>
                <a:gd name="connsiteY21" fmla="*/ 510757 h 933450"/>
                <a:gd name="connsiteX22" fmla="*/ 598487 w 1306513"/>
                <a:gd name="connsiteY22" fmla="*/ 466725 h 933450"/>
                <a:gd name="connsiteX23" fmla="*/ 653256 w 1306513"/>
                <a:gd name="connsiteY23" fmla="*/ 412750 h 933450"/>
                <a:gd name="connsiteX24" fmla="*/ 987425 w 1306513"/>
                <a:gd name="connsiteY24" fmla="*/ 187325 h 933450"/>
                <a:gd name="connsiteX25" fmla="*/ 984563 w 1306513"/>
                <a:gd name="connsiteY25" fmla="*/ 209462 h 933450"/>
                <a:gd name="connsiteX26" fmla="*/ 985279 w 1306513"/>
                <a:gd name="connsiteY26" fmla="*/ 218746 h 933450"/>
                <a:gd name="connsiteX27" fmla="*/ 899426 w 1306513"/>
                <a:gd name="connsiteY27" fmla="*/ 230171 h 933450"/>
                <a:gd name="connsiteX28" fmla="*/ 697670 w 1306513"/>
                <a:gd name="connsiteY28" fmla="*/ 393700 h 933450"/>
                <a:gd name="connsiteX29" fmla="*/ 668337 w 1306513"/>
                <a:gd name="connsiteY29" fmla="*/ 382275 h 933450"/>
                <a:gd name="connsiteX30" fmla="*/ 892987 w 1306513"/>
                <a:gd name="connsiteY30" fmla="*/ 199465 h 933450"/>
                <a:gd name="connsiteX31" fmla="*/ 987425 w 1306513"/>
                <a:gd name="connsiteY31" fmla="*/ 187325 h 933450"/>
                <a:gd name="connsiteX32" fmla="*/ 1070769 w 1306513"/>
                <a:gd name="connsiteY32" fmla="*/ 155575 h 933450"/>
                <a:gd name="connsiteX33" fmla="*/ 1125538 w 1306513"/>
                <a:gd name="connsiteY33" fmla="*/ 209550 h 933450"/>
                <a:gd name="connsiteX34" fmla="*/ 1070769 w 1306513"/>
                <a:gd name="connsiteY34" fmla="*/ 263525 h 933450"/>
                <a:gd name="connsiteX35" fmla="*/ 1016721 w 1306513"/>
                <a:gd name="connsiteY35" fmla="*/ 219493 h 933450"/>
                <a:gd name="connsiteX36" fmla="*/ 1016000 w 1306513"/>
                <a:gd name="connsiteY36" fmla="*/ 209550 h 933450"/>
                <a:gd name="connsiteX37" fmla="*/ 1020324 w 1306513"/>
                <a:gd name="connsiteY37" fmla="*/ 188244 h 933450"/>
                <a:gd name="connsiteX38" fmla="*/ 1070769 w 1306513"/>
                <a:gd name="connsiteY38" fmla="*/ 155575 h 933450"/>
                <a:gd name="connsiteX39" fmla="*/ 31750 w 1306513"/>
                <a:gd name="connsiteY39" fmla="*/ 31750 h 933450"/>
                <a:gd name="connsiteX40" fmla="*/ 31750 w 1306513"/>
                <a:gd name="connsiteY40" fmla="*/ 901700 h 933450"/>
                <a:gd name="connsiteX41" fmla="*/ 1274763 w 1306513"/>
                <a:gd name="connsiteY41" fmla="*/ 901700 h 933450"/>
                <a:gd name="connsiteX42" fmla="*/ 1274763 w 1306513"/>
                <a:gd name="connsiteY42" fmla="*/ 31750 h 933450"/>
                <a:gd name="connsiteX43" fmla="*/ 31750 w 1306513"/>
                <a:gd name="connsiteY43" fmla="*/ 31750 h 933450"/>
                <a:gd name="connsiteX44" fmla="*/ 15724 w 1306513"/>
                <a:gd name="connsiteY44" fmla="*/ 0 h 933450"/>
                <a:gd name="connsiteX45" fmla="*/ 1290789 w 1306513"/>
                <a:gd name="connsiteY45" fmla="*/ 0 h 933450"/>
                <a:gd name="connsiteX46" fmla="*/ 1306513 w 1306513"/>
                <a:gd name="connsiteY46" fmla="*/ 15724 h 933450"/>
                <a:gd name="connsiteX47" fmla="*/ 1306513 w 1306513"/>
                <a:gd name="connsiteY47" fmla="*/ 917726 h 933450"/>
                <a:gd name="connsiteX48" fmla="*/ 1290789 w 1306513"/>
                <a:gd name="connsiteY48" fmla="*/ 933450 h 933450"/>
                <a:gd name="connsiteX49" fmla="*/ 15724 w 1306513"/>
                <a:gd name="connsiteY49" fmla="*/ 933450 h 933450"/>
                <a:gd name="connsiteX50" fmla="*/ 0 w 1306513"/>
                <a:gd name="connsiteY50" fmla="*/ 917726 h 933450"/>
                <a:gd name="connsiteX51" fmla="*/ 0 w 1306513"/>
                <a:gd name="connsiteY51" fmla="*/ 15724 h 933450"/>
                <a:gd name="connsiteX52" fmla="*/ 15724 w 1306513"/>
                <a:gd name="connsiteY52" fmla="*/ 0 h 933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306513" h="933450">
                  <a:moveTo>
                    <a:pt x="235744" y="669925"/>
                  </a:moveTo>
                  <a:cubicBezTo>
                    <a:pt x="262408" y="669925"/>
                    <a:pt x="284748" y="689100"/>
                    <a:pt x="289792" y="713957"/>
                  </a:cubicBezTo>
                  <a:cubicBezTo>
                    <a:pt x="290513" y="717508"/>
                    <a:pt x="290513" y="720349"/>
                    <a:pt x="290513" y="723900"/>
                  </a:cubicBezTo>
                  <a:cubicBezTo>
                    <a:pt x="290513" y="731712"/>
                    <a:pt x="289071" y="738814"/>
                    <a:pt x="286189" y="745206"/>
                  </a:cubicBezTo>
                  <a:cubicBezTo>
                    <a:pt x="277541" y="764381"/>
                    <a:pt x="258084" y="777875"/>
                    <a:pt x="235744" y="777875"/>
                  </a:cubicBezTo>
                  <a:cubicBezTo>
                    <a:pt x="205477" y="777875"/>
                    <a:pt x="180975" y="753728"/>
                    <a:pt x="180975" y="723900"/>
                  </a:cubicBezTo>
                  <a:cubicBezTo>
                    <a:pt x="180975" y="694072"/>
                    <a:pt x="205477" y="669925"/>
                    <a:pt x="235744" y="669925"/>
                  </a:cubicBezTo>
                  <a:close/>
                  <a:moveTo>
                    <a:pt x="608842" y="539750"/>
                  </a:moveTo>
                  <a:cubicBezTo>
                    <a:pt x="617427" y="545463"/>
                    <a:pt x="627444" y="549033"/>
                    <a:pt x="638175" y="551176"/>
                  </a:cubicBezTo>
                  <a:cubicBezTo>
                    <a:pt x="580224" y="668288"/>
                    <a:pt x="487217" y="715419"/>
                    <a:pt x="413526" y="733985"/>
                  </a:cubicBezTo>
                  <a:cubicBezTo>
                    <a:pt x="379185" y="742555"/>
                    <a:pt x="346990" y="745411"/>
                    <a:pt x="319087" y="746125"/>
                  </a:cubicBezTo>
                  <a:cubicBezTo>
                    <a:pt x="321234" y="738984"/>
                    <a:pt x="321949" y="731843"/>
                    <a:pt x="321949" y="723988"/>
                  </a:cubicBezTo>
                  <a:cubicBezTo>
                    <a:pt x="321949" y="721132"/>
                    <a:pt x="321949" y="717561"/>
                    <a:pt x="321234" y="714705"/>
                  </a:cubicBezTo>
                  <a:cubicBezTo>
                    <a:pt x="346990" y="713991"/>
                    <a:pt x="376323" y="711134"/>
                    <a:pt x="407087" y="703279"/>
                  </a:cubicBezTo>
                  <a:cubicBezTo>
                    <a:pt x="497948" y="679714"/>
                    <a:pt x="565915" y="625442"/>
                    <a:pt x="608842" y="539750"/>
                  </a:cubicBezTo>
                  <a:close/>
                  <a:moveTo>
                    <a:pt x="653256" y="412750"/>
                  </a:moveTo>
                  <a:cubicBezTo>
                    <a:pt x="653976" y="412750"/>
                    <a:pt x="654697" y="412750"/>
                    <a:pt x="655418" y="412750"/>
                  </a:cubicBezTo>
                  <a:cubicBezTo>
                    <a:pt x="666227" y="413460"/>
                    <a:pt x="677037" y="417011"/>
                    <a:pt x="684964" y="422693"/>
                  </a:cubicBezTo>
                  <a:cubicBezTo>
                    <a:pt x="699377" y="432636"/>
                    <a:pt x="708025" y="448970"/>
                    <a:pt x="708025" y="466725"/>
                  </a:cubicBezTo>
                  <a:cubicBezTo>
                    <a:pt x="708025" y="496553"/>
                    <a:pt x="683523" y="520700"/>
                    <a:pt x="653256" y="520700"/>
                  </a:cubicBezTo>
                  <a:cubicBezTo>
                    <a:pt x="652535" y="520700"/>
                    <a:pt x="651814" y="520700"/>
                    <a:pt x="651094" y="520700"/>
                  </a:cubicBezTo>
                  <a:cubicBezTo>
                    <a:pt x="640284" y="519990"/>
                    <a:pt x="629474" y="516439"/>
                    <a:pt x="621547" y="510757"/>
                  </a:cubicBezTo>
                  <a:cubicBezTo>
                    <a:pt x="607134" y="500815"/>
                    <a:pt x="598487" y="484480"/>
                    <a:pt x="598487" y="466725"/>
                  </a:cubicBezTo>
                  <a:cubicBezTo>
                    <a:pt x="598487" y="436897"/>
                    <a:pt x="622989" y="412750"/>
                    <a:pt x="653256" y="412750"/>
                  </a:cubicBezTo>
                  <a:close/>
                  <a:moveTo>
                    <a:pt x="987425" y="187325"/>
                  </a:moveTo>
                  <a:cubicBezTo>
                    <a:pt x="985279" y="194466"/>
                    <a:pt x="984563" y="201607"/>
                    <a:pt x="984563" y="209462"/>
                  </a:cubicBezTo>
                  <a:cubicBezTo>
                    <a:pt x="984563" y="212319"/>
                    <a:pt x="984563" y="215889"/>
                    <a:pt x="985279" y="218746"/>
                  </a:cubicBezTo>
                  <a:cubicBezTo>
                    <a:pt x="959523" y="219460"/>
                    <a:pt x="930190" y="222316"/>
                    <a:pt x="899426" y="230171"/>
                  </a:cubicBezTo>
                  <a:cubicBezTo>
                    <a:pt x="808564" y="253736"/>
                    <a:pt x="740597" y="308008"/>
                    <a:pt x="697670" y="393700"/>
                  </a:cubicBezTo>
                  <a:cubicBezTo>
                    <a:pt x="689085" y="387987"/>
                    <a:pt x="679069" y="384417"/>
                    <a:pt x="668337" y="382275"/>
                  </a:cubicBezTo>
                  <a:cubicBezTo>
                    <a:pt x="726288" y="265162"/>
                    <a:pt x="819296" y="218031"/>
                    <a:pt x="892987" y="199465"/>
                  </a:cubicBezTo>
                  <a:cubicBezTo>
                    <a:pt x="927328" y="190896"/>
                    <a:pt x="959523" y="188039"/>
                    <a:pt x="987425" y="187325"/>
                  </a:cubicBezTo>
                  <a:close/>
                  <a:moveTo>
                    <a:pt x="1070769" y="155575"/>
                  </a:moveTo>
                  <a:cubicBezTo>
                    <a:pt x="1101036" y="155575"/>
                    <a:pt x="1125538" y="179722"/>
                    <a:pt x="1125538" y="209550"/>
                  </a:cubicBezTo>
                  <a:cubicBezTo>
                    <a:pt x="1125538" y="239378"/>
                    <a:pt x="1101036" y="263525"/>
                    <a:pt x="1070769" y="263525"/>
                  </a:cubicBezTo>
                  <a:cubicBezTo>
                    <a:pt x="1044105" y="263525"/>
                    <a:pt x="1021765" y="244350"/>
                    <a:pt x="1016721" y="219493"/>
                  </a:cubicBezTo>
                  <a:cubicBezTo>
                    <a:pt x="1016000" y="215942"/>
                    <a:pt x="1016000" y="213101"/>
                    <a:pt x="1016000" y="209550"/>
                  </a:cubicBezTo>
                  <a:cubicBezTo>
                    <a:pt x="1016000" y="201738"/>
                    <a:pt x="1017442" y="194636"/>
                    <a:pt x="1020324" y="188244"/>
                  </a:cubicBezTo>
                  <a:cubicBezTo>
                    <a:pt x="1028972" y="169069"/>
                    <a:pt x="1048429" y="155575"/>
                    <a:pt x="1070769" y="155575"/>
                  </a:cubicBezTo>
                  <a:close/>
                  <a:moveTo>
                    <a:pt x="31750" y="31750"/>
                  </a:moveTo>
                  <a:cubicBezTo>
                    <a:pt x="31750" y="31750"/>
                    <a:pt x="31750" y="31750"/>
                    <a:pt x="31750" y="901700"/>
                  </a:cubicBezTo>
                  <a:cubicBezTo>
                    <a:pt x="31750" y="901700"/>
                    <a:pt x="31750" y="901700"/>
                    <a:pt x="1274763" y="901700"/>
                  </a:cubicBezTo>
                  <a:cubicBezTo>
                    <a:pt x="1274763" y="901700"/>
                    <a:pt x="1274763" y="901700"/>
                    <a:pt x="1274763" y="31750"/>
                  </a:cubicBezTo>
                  <a:cubicBezTo>
                    <a:pt x="1274763" y="31750"/>
                    <a:pt x="1274763" y="31750"/>
                    <a:pt x="31750" y="31750"/>
                  </a:cubicBezTo>
                  <a:close/>
                  <a:moveTo>
                    <a:pt x="15724" y="0"/>
                  </a:moveTo>
                  <a:cubicBezTo>
                    <a:pt x="15724" y="0"/>
                    <a:pt x="15724" y="0"/>
                    <a:pt x="1290789" y="0"/>
                  </a:cubicBezTo>
                  <a:cubicBezTo>
                    <a:pt x="1299366" y="0"/>
                    <a:pt x="1306513" y="6433"/>
                    <a:pt x="1306513" y="15724"/>
                  </a:cubicBezTo>
                  <a:cubicBezTo>
                    <a:pt x="1306513" y="15724"/>
                    <a:pt x="1306513" y="15724"/>
                    <a:pt x="1306513" y="917726"/>
                  </a:cubicBezTo>
                  <a:cubicBezTo>
                    <a:pt x="1306513" y="927017"/>
                    <a:pt x="1299366" y="933450"/>
                    <a:pt x="1290789" y="933450"/>
                  </a:cubicBezTo>
                  <a:cubicBezTo>
                    <a:pt x="1290789" y="933450"/>
                    <a:pt x="1290789" y="933450"/>
                    <a:pt x="15724" y="933450"/>
                  </a:cubicBezTo>
                  <a:cubicBezTo>
                    <a:pt x="7147" y="933450"/>
                    <a:pt x="0" y="927017"/>
                    <a:pt x="0" y="917726"/>
                  </a:cubicBezTo>
                  <a:cubicBezTo>
                    <a:pt x="0" y="917726"/>
                    <a:pt x="0" y="917726"/>
                    <a:pt x="0" y="15724"/>
                  </a:cubicBezTo>
                  <a:cubicBezTo>
                    <a:pt x="0" y="6433"/>
                    <a:pt x="7147" y="0"/>
                    <a:pt x="1572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84" name="bcgIconsWhite_Approved ">
            <a:extLst>
              <a:ext uri="{FF2B5EF4-FFF2-40B4-BE49-F238E27FC236}">
                <a16:creationId xmlns:a16="http://schemas.microsoft.com/office/drawing/2014/main" id="{716A4AA1-3A23-75EE-1EE5-92C065610AF4}"/>
              </a:ext>
            </a:extLst>
          </p:cNvPr>
          <p:cNvGrpSpPr>
            <a:grpSpLocks noChangeAspect="1"/>
          </p:cNvGrpSpPr>
          <p:nvPr/>
        </p:nvGrpSpPr>
        <p:grpSpPr>
          <a:xfrm>
            <a:off x="1182603" y="5181600"/>
            <a:ext cx="503405" cy="502920"/>
            <a:chOff x="5273675" y="2606675"/>
            <a:chExt cx="1646238" cy="1644650"/>
          </a:xfrm>
        </p:grpSpPr>
        <p:sp>
          <p:nvSpPr>
            <p:cNvPr id="85" name="AutoShape 3">
              <a:extLst>
                <a:ext uri="{FF2B5EF4-FFF2-40B4-BE49-F238E27FC236}">
                  <a16:creationId xmlns:a16="http://schemas.microsoft.com/office/drawing/2014/main" id="{6D9429BE-125D-C36B-CE93-F9ECAF2DC35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7">
              <a:extLst>
                <a:ext uri="{FF2B5EF4-FFF2-40B4-BE49-F238E27FC236}">
                  <a16:creationId xmlns:a16="http://schemas.microsoft.com/office/drawing/2014/main" id="{8E186E2B-C4F2-50A9-9A07-7882B94C4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2774950"/>
              <a:ext cx="999551" cy="1346201"/>
            </a:xfrm>
            <a:custGeom>
              <a:avLst/>
              <a:gdLst>
                <a:gd name="connsiteX0" fmla="*/ 926427 w 999551"/>
                <a:gd name="connsiteY0" fmla="*/ 1074664 h 1346201"/>
                <a:gd name="connsiteX1" fmla="*/ 915066 w 999551"/>
                <a:gd name="connsiteY1" fmla="*/ 1078848 h 1346201"/>
                <a:gd name="connsiteX2" fmla="*/ 898607 w 999551"/>
                <a:gd name="connsiteY2" fmla="*/ 1094518 h 1346201"/>
                <a:gd name="connsiteX3" fmla="*/ 867121 w 999551"/>
                <a:gd name="connsiteY3" fmla="*/ 1124433 h 1346201"/>
                <a:gd name="connsiteX4" fmla="*/ 764073 w 999551"/>
                <a:gd name="connsiteY4" fmla="*/ 1223437 h 1346201"/>
                <a:gd name="connsiteX5" fmla="*/ 695375 w 999551"/>
                <a:gd name="connsiteY5" fmla="*/ 1155060 h 1346201"/>
                <a:gd name="connsiteX6" fmla="*/ 673191 w 999551"/>
                <a:gd name="connsiteY6" fmla="*/ 1155060 h 1346201"/>
                <a:gd name="connsiteX7" fmla="*/ 673191 w 999551"/>
                <a:gd name="connsiteY7" fmla="*/ 1177140 h 1346201"/>
                <a:gd name="connsiteX8" fmla="*/ 752623 w 999551"/>
                <a:gd name="connsiteY8" fmla="*/ 1256202 h 1346201"/>
                <a:gd name="connsiteX9" fmla="*/ 763357 w 999551"/>
                <a:gd name="connsiteY9" fmla="*/ 1260475 h 1346201"/>
                <a:gd name="connsiteX10" fmla="*/ 774092 w 999551"/>
                <a:gd name="connsiteY10" fmla="*/ 1256202 h 1346201"/>
                <a:gd name="connsiteX11" fmla="*/ 867121 w 999551"/>
                <a:gd name="connsiteY11" fmla="*/ 1167881 h 1346201"/>
                <a:gd name="connsiteX12" fmla="*/ 898607 w 999551"/>
                <a:gd name="connsiteY12" fmla="*/ 1137966 h 1346201"/>
                <a:gd name="connsiteX13" fmla="*/ 936535 w 999551"/>
                <a:gd name="connsiteY13" fmla="*/ 1101641 h 1346201"/>
                <a:gd name="connsiteX14" fmla="*/ 937250 w 999551"/>
                <a:gd name="connsiteY14" fmla="*/ 1079560 h 1346201"/>
                <a:gd name="connsiteX15" fmla="*/ 926427 w 999551"/>
                <a:gd name="connsiteY15" fmla="*/ 1074664 h 1346201"/>
                <a:gd name="connsiteX16" fmla="*/ 152230 w 999551"/>
                <a:gd name="connsiteY16" fmla="*/ 1057275 h 1346201"/>
                <a:gd name="connsiteX17" fmla="*/ 604838 w 999551"/>
                <a:gd name="connsiteY17" fmla="*/ 1057275 h 1346201"/>
                <a:gd name="connsiteX18" fmla="*/ 592702 w 999551"/>
                <a:gd name="connsiteY18" fmla="*/ 1089025 h 1346201"/>
                <a:gd name="connsiteX19" fmla="*/ 152230 w 999551"/>
                <a:gd name="connsiteY19" fmla="*/ 1089025 h 1346201"/>
                <a:gd name="connsiteX20" fmla="*/ 136525 w 999551"/>
                <a:gd name="connsiteY20" fmla="*/ 1073150 h 1346201"/>
                <a:gd name="connsiteX21" fmla="*/ 152230 w 999551"/>
                <a:gd name="connsiteY21" fmla="*/ 1057275 h 1346201"/>
                <a:gd name="connsiteX22" fmla="*/ 806847 w 999551"/>
                <a:gd name="connsiteY22" fmla="*/ 960438 h 1346201"/>
                <a:gd name="connsiteX23" fmla="*/ 867569 w 999551"/>
                <a:gd name="connsiteY23" fmla="*/ 970439 h 1346201"/>
                <a:gd name="connsiteX24" fmla="*/ 899002 w 999551"/>
                <a:gd name="connsiteY24" fmla="*/ 984013 h 1346201"/>
                <a:gd name="connsiteX25" fmla="*/ 945436 w 999551"/>
                <a:gd name="connsiteY25" fmla="*/ 1019731 h 1346201"/>
                <a:gd name="connsiteX26" fmla="*/ 956866 w 999551"/>
                <a:gd name="connsiteY26" fmla="*/ 1274764 h 1346201"/>
                <a:gd name="connsiteX27" fmla="*/ 940436 w 999551"/>
                <a:gd name="connsiteY27" fmla="*/ 1292623 h 1346201"/>
                <a:gd name="connsiteX28" fmla="*/ 924719 w 999551"/>
                <a:gd name="connsiteY28" fmla="*/ 1306196 h 1346201"/>
                <a:gd name="connsiteX29" fmla="*/ 924005 w 999551"/>
                <a:gd name="connsiteY29" fmla="*/ 1306196 h 1346201"/>
                <a:gd name="connsiteX30" fmla="*/ 806847 w 999551"/>
                <a:gd name="connsiteY30" fmla="*/ 1346201 h 1346201"/>
                <a:gd name="connsiteX31" fmla="*/ 688975 w 999551"/>
                <a:gd name="connsiteY31" fmla="*/ 1306196 h 1346201"/>
                <a:gd name="connsiteX32" fmla="*/ 667544 w 999551"/>
                <a:gd name="connsiteY32" fmla="*/ 1287622 h 1346201"/>
                <a:gd name="connsiteX33" fmla="*/ 656828 w 999551"/>
                <a:gd name="connsiteY33" fmla="*/ 1274764 h 1346201"/>
                <a:gd name="connsiteX34" fmla="*/ 625396 w 999551"/>
                <a:gd name="connsiteY34" fmla="*/ 1088311 h 1346201"/>
                <a:gd name="connsiteX35" fmla="*/ 639683 w 999551"/>
                <a:gd name="connsiteY35" fmla="*/ 1056879 h 1346201"/>
                <a:gd name="connsiteX36" fmla="*/ 673259 w 999551"/>
                <a:gd name="connsiteY36" fmla="*/ 1014731 h 1346201"/>
                <a:gd name="connsiteX37" fmla="*/ 740410 w 999551"/>
                <a:gd name="connsiteY37" fmla="*/ 972583 h 1346201"/>
                <a:gd name="connsiteX38" fmla="*/ 760413 w 999551"/>
                <a:gd name="connsiteY38" fmla="*/ 966153 h 1346201"/>
                <a:gd name="connsiteX39" fmla="*/ 806847 w 999551"/>
                <a:gd name="connsiteY39" fmla="*/ 960438 h 1346201"/>
                <a:gd name="connsiteX40" fmla="*/ 152218 w 999551"/>
                <a:gd name="connsiteY40" fmla="*/ 941388 h 1346201"/>
                <a:gd name="connsiteX41" fmla="*/ 735013 w 999551"/>
                <a:gd name="connsiteY41" fmla="*/ 941388 h 1346201"/>
                <a:gd name="connsiteX42" fmla="*/ 674380 w 999551"/>
                <a:gd name="connsiteY42" fmla="*/ 973138 h 1346201"/>
                <a:gd name="connsiteX43" fmla="*/ 152218 w 999551"/>
                <a:gd name="connsiteY43" fmla="*/ 973138 h 1346201"/>
                <a:gd name="connsiteX44" fmla="*/ 136525 w 999551"/>
                <a:gd name="connsiteY44" fmla="*/ 957263 h 1346201"/>
                <a:gd name="connsiteX45" fmla="*/ 152218 w 999551"/>
                <a:gd name="connsiteY45" fmla="*/ 941388 h 1346201"/>
                <a:gd name="connsiteX46" fmla="*/ 152237 w 999551"/>
                <a:gd name="connsiteY46" fmla="*/ 825500 h 1346201"/>
                <a:gd name="connsiteX47" fmla="*/ 747876 w 999551"/>
                <a:gd name="connsiteY47" fmla="*/ 825500 h 1346201"/>
                <a:gd name="connsiteX48" fmla="*/ 763588 w 999551"/>
                <a:gd name="connsiteY48" fmla="*/ 841375 h 1346201"/>
                <a:gd name="connsiteX49" fmla="*/ 747876 w 999551"/>
                <a:gd name="connsiteY49" fmla="*/ 857250 h 1346201"/>
                <a:gd name="connsiteX50" fmla="*/ 152237 w 999551"/>
                <a:gd name="connsiteY50" fmla="*/ 857250 h 1346201"/>
                <a:gd name="connsiteX51" fmla="*/ 136525 w 999551"/>
                <a:gd name="connsiteY51" fmla="*/ 841375 h 1346201"/>
                <a:gd name="connsiteX52" fmla="*/ 152237 w 999551"/>
                <a:gd name="connsiteY52" fmla="*/ 825500 h 1346201"/>
                <a:gd name="connsiteX53" fmla="*/ 152237 w 999551"/>
                <a:gd name="connsiteY53" fmla="*/ 709613 h 1346201"/>
                <a:gd name="connsiteX54" fmla="*/ 747876 w 999551"/>
                <a:gd name="connsiteY54" fmla="*/ 709613 h 1346201"/>
                <a:gd name="connsiteX55" fmla="*/ 763588 w 999551"/>
                <a:gd name="connsiteY55" fmla="*/ 725488 h 1346201"/>
                <a:gd name="connsiteX56" fmla="*/ 747876 w 999551"/>
                <a:gd name="connsiteY56" fmla="*/ 741363 h 1346201"/>
                <a:gd name="connsiteX57" fmla="*/ 152237 w 999551"/>
                <a:gd name="connsiteY57" fmla="*/ 741363 h 1346201"/>
                <a:gd name="connsiteX58" fmla="*/ 136525 w 999551"/>
                <a:gd name="connsiteY58" fmla="*/ 725488 h 1346201"/>
                <a:gd name="connsiteX59" fmla="*/ 152237 w 999551"/>
                <a:gd name="connsiteY59" fmla="*/ 709613 h 1346201"/>
                <a:gd name="connsiteX60" fmla="*/ 152237 w 999551"/>
                <a:gd name="connsiteY60" fmla="*/ 593725 h 1346201"/>
                <a:gd name="connsiteX61" fmla="*/ 747876 w 999551"/>
                <a:gd name="connsiteY61" fmla="*/ 593725 h 1346201"/>
                <a:gd name="connsiteX62" fmla="*/ 763588 w 999551"/>
                <a:gd name="connsiteY62" fmla="*/ 609600 h 1346201"/>
                <a:gd name="connsiteX63" fmla="*/ 747876 w 999551"/>
                <a:gd name="connsiteY63" fmla="*/ 625475 h 1346201"/>
                <a:gd name="connsiteX64" fmla="*/ 152237 w 999551"/>
                <a:gd name="connsiteY64" fmla="*/ 625475 h 1346201"/>
                <a:gd name="connsiteX65" fmla="*/ 136525 w 999551"/>
                <a:gd name="connsiteY65" fmla="*/ 609600 h 1346201"/>
                <a:gd name="connsiteX66" fmla="*/ 152237 w 999551"/>
                <a:gd name="connsiteY66" fmla="*/ 593725 h 1346201"/>
                <a:gd name="connsiteX67" fmla="*/ 152237 w 999551"/>
                <a:gd name="connsiteY67" fmla="*/ 477838 h 1346201"/>
                <a:gd name="connsiteX68" fmla="*/ 747876 w 999551"/>
                <a:gd name="connsiteY68" fmla="*/ 477838 h 1346201"/>
                <a:gd name="connsiteX69" fmla="*/ 763588 w 999551"/>
                <a:gd name="connsiteY69" fmla="*/ 493713 h 1346201"/>
                <a:gd name="connsiteX70" fmla="*/ 747876 w 999551"/>
                <a:gd name="connsiteY70" fmla="*/ 509588 h 1346201"/>
                <a:gd name="connsiteX71" fmla="*/ 152237 w 999551"/>
                <a:gd name="connsiteY71" fmla="*/ 509588 h 1346201"/>
                <a:gd name="connsiteX72" fmla="*/ 136525 w 999551"/>
                <a:gd name="connsiteY72" fmla="*/ 493713 h 1346201"/>
                <a:gd name="connsiteX73" fmla="*/ 152237 w 999551"/>
                <a:gd name="connsiteY73" fmla="*/ 477838 h 1346201"/>
                <a:gd name="connsiteX74" fmla="*/ 152237 w 999551"/>
                <a:gd name="connsiteY74" fmla="*/ 361950 h 1346201"/>
                <a:gd name="connsiteX75" fmla="*/ 747876 w 999551"/>
                <a:gd name="connsiteY75" fmla="*/ 361950 h 1346201"/>
                <a:gd name="connsiteX76" fmla="*/ 763588 w 999551"/>
                <a:gd name="connsiteY76" fmla="*/ 377825 h 1346201"/>
                <a:gd name="connsiteX77" fmla="*/ 747876 w 999551"/>
                <a:gd name="connsiteY77" fmla="*/ 393700 h 1346201"/>
                <a:gd name="connsiteX78" fmla="*/ 152237 w 999551"/>
                <a:gd name="connsiteY78" fmla="*/ 393700 h 1346201"/>
                <a:gd name="connsiteX79" fmla="*/ 136525 w 999551"/>
                <a:gd name="connsiteY79" fmla="*/ 377825 h 1346201"/>
                <a:gd name="connsiteX80" fmla="*/ 152237 w 999551"/>
                <a:gd name="connsiteY80" fmla="*/ 361950 h 1346201"/>
                <a:gd name="connsiteX81" fmla="*/ 625475 w 999551"/>
                <a:gd name="connsiteY81" fmla="*/ 114300 h 1346201"/>
                <a:gd name="connsiteX82" fmla="*/ 882800 w 999551"/>
                <a:gd name="connsiteY82" fmla="*/ 114300 h 1346201"/>
                <a:gd name="connsiteX83" fmla="*/ 898525 w 999551"/>
                <a:gd name="connsiteY83" fmla="*/ 130001 h 1346201"/>
                <a:gd name="connsiteX84" fmla="*/ 898525 w 999551"/>
                <a:gd name="connsiteY84" fmla="*/ 949325 h 1346201"/>
                <a:gd name="connsiteX85" fmla="*/ 867074 w 999551"/>
                <a:gd name="connsiteY85" fmla="*/ 937906 h 1346201"/>
                <a:gd name="connsiteX86" fmla="*/ 867074 w 999551"/>
                <a:gd name="connsiteY86" fmla="*/ 145703 h 1346201"/>
                <a:gd name="connsiteX87" fmla="*/ 625475 w 999551"/>
                <a:gd name="connsiteY87" fmla="*/ 145703 h 1346201"/>
                <a:gd name="connsiteX88" fmla="*/ 625475 w 999551"/>
                <a:gd name="connsiteY88" fmla="*/ 114300 h 1346201"/>
                <a:gd name="connsiteX89" fmla="*/ 15734 w 999551"/>
                <a:gd name="connsiteY89" fmla="*/ 114300 h 1346201"/>
                <a:gd name="connsiteX90" fmla="*/ 273195 w 999551"/>
                <a:gd name="connsiteY90" fmla="*/ 114300 h 1346201"/>
                <a:gd name="connsiteX91" fmla="*/ 273195 w 999551"/>
                <a:gd name="connsiteY91" fmla="*/ 145712 h 1346201"/>
                <a:gd name="connsiteX92" fmla="*/ 31468 w 999551"/>
                <a:gd name="connsiteY92" fmla="*/ 145712 h 1346201"/>
                <a:gd name="connsiteX93" fmla="*/ 31468 w 999551"/>
                <a:gd name="connsiteY93" fmla="*/ 1275102 h 1346201"/>
                <a:gd name="connsiteX94" fmla="*/ 618622 w 999551"/>
                <a:gd name="connsiteY94" fmla="*/ 1275102 h 1346201"/>
                <a:gd name="connsiteX95" fmla="*/ 642938 w 999551"/>
                <a:gd name="connsiteY95" fmla="*/ 1306513 h 1346201"/>
                <a:gd name="connsiteX96" fmla="*/ 15734 w 999551"/>
                <a:gd name="connsiteY96" fmla="*/ 1306513 h 1346201"/>
                <a:gd name="connsiteX97" fmla="*/ 0 w 999551"/>
                <a:gd name="connsiteY97" fmla="*/ 1290807 h 1346201"/>
                <a:gd name="connsiteX98" fmla="*/ 0 w 999551"/>
                <a:gd name="connsiteY98" fmla="*/ 130006 h 1346201"/>
                <a:gd name="connsiteX99" fmla="*/ 15734 w 999551"/>
                <a:gd name="connsiteY99" fmla="*/ 114300 h 1346201"/>
                <a:gd name="connsiteX100" fmla="*/ 449263 w 999551"/>
                <a:gd name="connsiteY100" fmla="*/ 31750 h 1346201"/>
                <a:gd name="connsiteX101" fmla="*/ 427180 w 999551"/>
                <a:gd name="connsiteY101" fmla="*/ 35314 h 1346201"/>
                <a:gd name="connsiteX102" fmla="*/ 393700 w 999551"/>
                <a:gd name="connsiteY102" fmla="*/ 66675 h 1346201"/>
                <a:gd name="connsiteX103" fmla="*/ 504825 w 999551"/>
                <a:gd name="connsiteY103" fmla="*/ 66675 h 1346201"/>
                <a:gd name="connsiteX104" fmla="*/ 471345 w 999551"/>
                <a:gd name="connsiteY104" fmla="*/ 35314 h 1346201"/>
                <a:gd name="connsiteX105" fmla="*/ 449263 w 999551"/>
                <a:gd name="connsiteY105" fmla="*/ 31750 h 1346201"/>
                <a:gd name="connsiteX106" fmla="*/ 449262 w 999551"/>
                <a:gd name="connsiteY106" fmla="*/ 0 h 1346201"/>
                <a:gd name="connsiteX107" fmla="*/ 522287 w 999551"/>
                <a:gd name="connsiteY107" fmla="*/ 34890 h 1346201"/>
                <a:gd name="connsiteX108" fmla="*/ 538754 w 999551"/>
                <a:gd name="connsiteY108" fmla="*/ 66220 h 1346201"/>
                <a:gd name="connsiteX109" fmla="*/ 588153 w 999551"/>
                <a:gd name="connsiteY109" fmla="*/ 66220 h 1346201"/>
                <a:gd name="connsiteX110" fmla="*/ 595312 w 999551"/>
                <a:gd name="connsiteY110" fmla="*/ 73340 h 1346201"/>
                <a:gd name="connsiteX111" fmla="*/ 595312 w 999551"/>
                <a:gd name="connsiteY111" fmla="*/ 113927 h 1346201"/>
                <a:gd name="connsiteX112" fmla="*/ 595312 w 999551"/>
                <a:gd name="connsiteY112" fmla="*/ 145256 h 1346201"/>
                <a:gd name="connsiteX113" fmla="*/ 595312 w 999551"/>
                <a:gd name="connsiteY113" fmla="*/ 178010 h 1346201"/>
                <a:gd name="connsiteX114" fmla="*/ 579562 w 999551"/>
                <a:gd name="connsiteY114" fmla="*/ 193675 h 1346201"/>
                <a:gd name="connsiteX115" fmla="*/ 318963 w 999551"/>
                <a:gd name="connsiteY115" fmla="*/ 193675 h 1346201"/>
                <a:gd name="connsiteX116" fmla="*/ 303212 w 999551"/>
                <a:gd name="connsiteY116" fmla="*/ 178010 h 1346201"/>
                <a:gd name="connsiteX117" fmla="*/ 303212 w 999551"/>
                <a:gd name="connsiteY117" fmla="*/ 145256 h 1346201"/>
                <a:gd name="connsiteX118" fmla="*/ 303212 w 999551"/>
                <a:gd name="connsiteY118" fmla="*/ 113927 h 1346201"/>
                <a:gd name="connsiteX119" fmla="*/ 303212 w 999551"/>
                <a:gd name="connsiteY119" fmla="*/ 73340 h 1346201"/>
                <a:gd name="connsiteX120" fmla="*/ 310372 w 999551"/>
                <a:gd name="connsiteY120" fmla="*/ 66220 h 1346201"/>
                <a:gd name="connsiteX121" fmla="*/ 359771 w 999551"/>
                <a:gd name="connsiteY121" fmla="*/ 66220 h 1346201"/>
                <a:gd name="connsiteX122" fmla="*/ 376237 w 999551"/>
                <a:gd name="connsiteY122" fmla="*/ 34890 h 1346201"/>
                <a:gd name="connsiteX123" fmla="*/ 449262 w 999551"/>
                <a:gd name="connsiteY123" fmla="*/ 0 h 1346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999551" h="1346201">
                  <a:moveTo>
                    <a:pt x="926427" y="1074664"/>
                  </a:moveTo>
                  <a:cubicBezTo>
                    <a:pt x="922401" y="1074575"/>
                    <a:pt x="918286" y="1075999"/>
                    <a:pt x="915066" y="1078848"/>
                  </a:cubicBezTo>
                  <a:cubicBezTo>
                    <a:pt x="915066" y="1078848"/>
                    <a:pt x="915066" y="1078848"/>
                    <a:pt x="898607" y="1094518"/>
                  </a:cubicBezTo>
                  <a:cubicBezTo>
                    <a:pt x="898607" y="1094518"/>
                    <a:pt x="898607" y="1094518"/>
                    <a:pt x="867121" y="1124433"/>
                  </a:cubicBezTo>
                  <a:cubicBezTo>
                    <a:pt x="867121" y="1124433"/>
                    <a:pt x="867121" y="1124433"/>
                    <a:pt x="764073" y="1223437"/>
                  </a:cubicBezTo>
                  <a:cubicBezTo>
                    <a:pt x="764073" y="1223437"/>
                    <a:pt x="764073" y="1223437"/>
                    <a:pt x="695375" y="1155060"/>
                  </a:cubicBezTo>
                  <a:cubicBezTo>
                    <a:pt x="688934" y="1148650"/>
                    <a:pt x="678916" y="1148650"/>
                    <a:pt x="673191" y="1155060"/>
                  </a:cubicBezTo>
                  <a:cubicBezTo>
                    <a:pt x="666750" y="1160758"/>
                    <a:pt x="666750" y="1170730"/>
                    <a:pt x="673191" y="1177140"/>
                  </a:cubicBezTo>
                  <a:cubicBezTo>
                    <a:pt x="673191" y="1177140"/>
                    <a:pt x="673191" y="1177140"/>
                    <a:pt x="752623" y="1256202"/>
                  </a:cubicBezTo>
                  <a:cubicBezTo>
                    <a:pt x="755486" y="1259051"/>
                    <a:pt x="759779" y="1260475"/>
                    <a:pt x="763357" y="1260475"/>
                  </a:cubicBezTo>
                  <a:cubicBezTo>
                    <a:pt x="767651" y="1260475"/>
                    <a:pt x="771229" y="1259051"/>
                    <a:pt x="774092" y="1256202"/>
                  </a:cubicBezTo>
                  <a:cubicBezTo>
                    <a:pt x="774092" y="1256202"/>
                    <a:pt x="774092" y="1256202"/>
                    <a:pt x="867121" y="1167881"/>
                  </a:cubicBezTo>
                  <a:cubicBezTo>
                    <a:pt x="867121" y="1167881"/>
                    <a:pt x="867121" y="1167881"/>
                    <a:pt x="898607" y="1137966"/>
                  </a:cubicBezTo>
                  <a:cubicBezTo>
                    <a:pt x="898607" y="1137966"/>
                    <a:pt x="898607" y="1137966"/>
                    <a:pt x="936535" y="1101641"/>
                  </a:cubicBezTo>
                  <a:cubicBezTo>
                    <a:pt x="942975" y="1095943"/>
                    <a:pt x="942975" y="1085971"/>
                    <a:pt x="937250" y="1079560"/>
                  </a:cubicBezTo>
                  <a:cubicBezTo>
                    <a:pt x="934388" y="1076355"/>
                    <a:pt x="930452" y="1074753"/>
                    <a:pt x="926427" y="1074664"/>
                  </a:cubicBezTo>
                  <a:close/>
                  <a:moveTo>
                    <a:pt x="152230" y="1057275"/>
                  </a:moveTo>
                  <a:cubicBezTo>
                    <a:pt x="152230" y="1057275"/>
                    <a:pt x="152230" y="1057275"/>
                    <a:pt x="604838" y="1057275"/>
                  </a:cubicBezTo>
                  <a:cubicBezTo>
                    <a:pt x="599841" y="1067377"/>
                    <a:pt x="595557" y="1078201"/>
                    <a:pt x="592702" y="1089025"/>
                  </a:cubicBezTo>
                  <a:cubicBezTo>
                    <a:pt x="592702" y="1089025"/>
                    <a:pt x="592702" y="1089025"/>
                    <a:pt x="152230" y="1089025"/>
                  </a:cubicBezTo>
                  <a:cubicBezTo>
                    <a:pt x="142950" y="1089025"/>
                    <a:pt x="136525" y="1081809"/>
                    <a:pt x="136525" y="1073150"/>
                  </a:cubicBezTo>
                  <a:cubicBezTo>
                    <a:pt x="136525" y="1064491"/>
                    <a:pt x="142950" y="1057275"/>
                    <a:pt x="152230" y="1057275"/>
                  </a:cubicBezTo>
                  <a:close/>
                  <a:moveTo>
                    <a:pt x="806847" y="960438"/>
                  </a:moveTo>
                  <a:cubicBezTo>
                    <a:pt x="827564" y="960438"/>
                    <a:pt x="848281" y="964010"/>
                    <a:pt x="867569" y="970439"/>
                  </a:cubicBezTo>
                  <a:cubicBezTo>
                    <a:pt x="878999" y="974011"/>
                    <a:pt x="889001" y="979012"/>
                    <a:pt x="899002" y="984013"/>
                  </a:cubicBezTo>
                  <a:cubicBezTo>
                    <a:pt x="916147" y="993299"/>
                    <a:pt x="931863" y="1005444"/>
                    <a:pt x="945436" y="1019731"/>
                  </a:cubicBezTo>
                  <a:cubicBezTo>
                    <a:pt x="1013302" y="1089740"/>
                    <a:pt x="1017588" y="1199754"/>
                    <a:pt x="956866" y="1274764"/>
                  </a:cubicBezTo>
                  <a:cubicBezTo>
                    <a:pt x="951866" y="1281193"/>
                    <a:pt x="946151" y="1286908"/>
                    <a:pt x="940436" y="1292623"/>
                  </a:cubicBezTo>
                  <a:cubicBezTo>
                    <a:pt x="934006" y="1298338"/>
                    <a:pt x="929720" y="1302624"/>
                    <a:pt x="924719" y="1306196"/>
                  </a:cubicBezTo>
                  <a:cubicBezTo>
                    <a:pt x="924719" y="1306196"/>
                    <a:pt x="924719" y="1306196"/>
                    <a:pt x="924005" y="1306196"/>
                  </a:cubicBezTo>
                  <a:cubicBezTo>
                    <a:pt x="891144" y="1331914"/>
                    <a:pt x="848996" y="1346201"/>
                    <a:pt x="806847" y="1346201"/>
                  </a:cubicBezTo>
                  <a:cubicBezTo>
                    <a:pt x="763270" y="1346201"/>
                    <a:pt x="722551" y="1332628"/>
                    <a:pt x="688975" y="1306196"/>
                  </a:cubicBezTo>
                  <a:cubicBezTo>
                    <a:pt x="681832" y="1300481"/>
                    <a:pt x="674688" y="1294052"/>
                    <a:pt x="667544" y="1287622"/>
                  </a:cubicBezTo>
                  <a:cubicBezTo>
                    <a:pt x="663972" y="1283336"/>
                    <a:pt x="660400" y="1279050"/>
                    <a:pt x="656828" y="1274764"/>
                  </a:cubicBezTo>
                  <a:cubicBezTo>
                    <a:pt x="613252" y="1221900"/>
                    <a:pt x="603250" y="1150462"/>
                    <a:pt x="625396" y="1088311"/>
                  </a:cubicBezTo>
                  <a:cubicBezTo>
                    <a:pt x="628968" y="1077596"/>
                    <a:pt x="633968" y="1066880"/>
                    <a:pt x="639683" y="1056879"/>
                  </a:cubicBezTo>
                  <a:cubicBezTo>
                    <a:pt x="648970" y="1041877"/>
                    <a:pt x="659686" y="1027589"/>
                    <a:pt x="673259" y="1014731"/>
                  </a:cubicBezTo>
                  <a:cubicBezTo>
                    <a:pt x="692547" y="995443"/>
                    <a:pt x="715407" y="981155"/>
                    <a:pt x="740410" y="972583"/>
                  </a:cubicBezTo>
                  <a:cubicBezTo>
                    <a:pt x="746840" y="969725"/>
                    <a:pt x="753269" y="968296"/>
                    <a:pt x="760413" y="966153"/>
                  </a:cubicBezTo>
                  <a:cubicBezTo>
                    <a:pt x="775415" y="962581"/>
                    <a:pt x="791131" y="960438"/>
                    <a:pt x="806847" y="960438"/>
                  </a:cubicBezTo>
                  <a:close/>
                  <a:moveTo>
                    <a:pt x="152218" y="941388"/>
                  </a:moveTo>
                  <a:cubicBezTo>
                    <a:pt x="152218" y="941388"/>
                    <a:pt x="152218" y="941388"/>
                    <a:pt x="735013" y="941388"/>
                  </a:cubicBezTo>
                  <a:cubicBezTo>
                    <a:pt x="712900" y="948604"/>
                    <a:pt x="692926" y="959428"/>
                    <a:pt x="674380" y="973138"/>
                  </a:cubicBezTo>
                  <a:cubicBezTo>
                    <a:pt x="674380" y="973138"/>
                    <a:pt x="674380" y="973138"/>
                    <a:pt x="152218" y="973138"/>
                  </a:cubicBezTo>
                  <a:cubicBezTo>
                    <a:pt x="142945" y="973138"/>
                    <a:pt x="136525" y="965922"/>
                    <a:pt x="136525" y="957263"/>
                  </a:cubicBezTo>
                  <a:cubicBezTo>
                    <a:pt x="136525" y="948604"/>
                    <a:pt x="142945" y="941388"/>
                    <a:pt x="152218" y="941388"/>
                  </a:cubicBezTo>
                  <a:close/>
                  <a:moveTo>
                    <a:pt x="152237" y="825500"/>
                  </a:moveTo>
                  <a:cubicBezTo>
                    <a:pt x="152237" y="825500"/>
                    <a:pt x="152237" y="825500"/>
                    <a:pt x="747876" y="825500"/>
                  </a:cubicBezTo>
                  <a:cubicBezTo>
                    <a:pt x="757160" y="825500"/>
                    <a:pt x="763588" y="832716"/>
                    <a:pt x="763588" y="841375"/>
                  </a:cubicBezTo>
                  <a:cubicBezTo>
                    <a:pt x="763588" y="850756"/>
                    <a:pt x="757160" y="857250"/>
                    <a:pt x="747876" y="857250"/>
                  </a:cubicBezTo>
                  <a:cubicBezTo>
                    <a:pt x="747876" y="857250"/>
                    <a:pt x="747876" y="857250"/>
                    <a:pt x="152237" y="857250"/>
                  </a:cubicBezTo>
                  <a:cubicBezTo>
                    <a:pt x="142953" y="857250"/>
                    <a:pt x="136525" y="850756"/>
                    <a:pt x="136525" y="841375"/>
                  </a:cubicBezTo>
                  <a:cubicBezTo>
                    <a:pt x="136525" y="832716"/>
                    <a:pt x="142953" y="825500"/>
                    <a:pt x="152237" y="825500"/>
                  </a:cubicBezTo>
                  <a:close/>
                  <a:moveTo>
                    <a:pt x="152237" y="709613"/>
                  </a:moveTo>
                  <a:cubicBezTo>
                    <a:pt x="152237" y="709613"/>
                    <a:pt x="152237" y="709613"/>
                    <a:pt x="747876" y="709613"/>
                  </a:cubicBezTo>
                  <a:cubicBezTo>
                    <a:pt x="757160" y="709613"/>
                    <a:pt x="763588" y="716829"/>
                    <a:pt x="763588" y="725488"/>
                  </a:cubicBezTo>
                  <a:cubicBezTo>
                    <a:pt x="763588" y="734147"/>
                    <a:pt x="757160" y="741363"/>
                    <a:pt x="747876" y="741363"/>
                  </a:cubicBezTo>
                  <a:cubicBezTo>
                    <a:pt x="747876" y="741363"/>
                    <a:pt x="747876" y="741363"/>
                    <a:pt x="152237" y="741363"/>
                  </a:cubicBezTo>
                  <a:cubicBezTo>
                    <a:pt x="142953" y="741363"/>
                    <a:pt x="136525" y="734147"/>
                    <a:pt x="136525" y="725488"/>
                  </a:cubicBezTo>
                  <a:cubicBezTo>
                    <a:pt x="136525" y="716829"/>
                    <a:pt x="142953" y="709613"/>
                    <a:pt x="152237" y="709613"/>
                  </a:cubicBezTo>
                  <a:close/>
                  <a:moveTo>
                    <a:pt x="152237" y="593725"/>
                  </a:moveTo>
                  <a:cubicBezTo>
                    <a:pt x="152237" y="593725"/>
                    <a:pt x="152237" y="593725"/>
                    <a:pt x="747876" y="593725"/>
                  </a:cubicBezTo>
                  <a:cubicBezTo>
                    <a:pt x="757160" y="593725"/>
                    <a:pt x="763588" y="600941"/>
                    <a:pt x="763588" y="609600"/>
                  </a:cubicBezTo>
                  <a:cubicBezTo>
                    <a:pt x="763588" y="618259"/>
                    <a:pt x="757160" y="625475"/>
                    <a:pt x="747876" y="625475"/>
                  </a:cubicBezTo>
                  <a:cubicBezTo>
                    <a:pt x="747876" y="625475"/>
                    <a:pt x="747876" y="625475"/>
                    <a:pt x="152237" y="625475"/>
                  </a:cubicBezTo>
                  <a:cubicBezTo>
                    <a:pt x="142953" y="625475"/>
                    <a:pt x="136525" y="618259"/>
                    <a:pt x="136525" y="609600"/>
                  </a:cubicBezTo>
                  <a:cubicBezTo>
                    <a:pt x="136525" y="600941"/>
                    <a:pt x="142953" y="593725"/>
                    <a:pt x="152237" y="593725"/>
                  </a:cubicBezTo>
                  <a:close/>
                  <a:moveTo>
                    <a:pt x="152237" y="477838"/>
                  </a:moveTo>
                  <a:cubicBezTo>
                    <a:pt x="152237" y="477838"/>
                    <a:pt x="152237" y="477838"/>
                    <a:pt x="747876" y="477838"/>
                  </a:cubicBezTo>
                  <a:cubicBezTo>
                    <a:pt x="757160" y="477838"/>
                    <a:pt x="763588" y="484332"/>
                    <a:pt x="763588" y="493713"/>
                  </a:cubicBezTo>
                  <a:cubicBezTo>
                    <a:pt x="763588" y="502372"/>
                    <a:pt x="757160" y="509588"/>
                    <a:pt x="747876" y="509588"/>
                  </a:cubicBezTo>
                  <a:cubicBezTo>
                    <a:pt x="747876" y="509588"/>
                    <a:pt x="747876" y="509588"/>
                    <a:pt x="152237" y="509588"/>
                  </a:cubicBezTo>
                  <a:cubicBezTo>
                    <a:pt x="142953" y="509588"/>
                    <a:pt x="136525" y="502372"/>
                    <a:pt x="136525" y="493713"/>
                  </a:cubicBezTo>
                  <a:cubicBezTo>
                    <a:pt x="136525" y="484332"/>
                    <a:pt x="142953" y="477838"/>
                    <a:pt x="152237" y="477838"/>
                  </a:cubicBezTo>
                  <a:close/>
                  <a:moveTo>
                    <a:pt x="152237" y="361950"/>
                  </a:moveTo>
                  <a:cubicBezTo>
                    <a:pt x="152237" y="361950"/>
                    <a:pt x="152237" y="361950"/>
                    <a:pt x="747876" y="361950"/>
                  </a:cubicBezTo>
                  <a:cubicBezTo>
                    <a:pt x="757160" y="361950"/>
                    <a:pt x="763588" y="369166"/>
                    <a:pt x="763588" y="377825"/>
                  </a:cubicBezTo>
                  <a:cubicBezTo>
                    <a:pt x="763588" y="386484"/>
                    <a:pt x="757160" y="393700"/>
                    <a:pt x="747876" y="393700"/>
                  </a:cubicBezTo>
                  <a:cubicBezTo>
                    <a:pt x="747876" y="393700"/>
                    <a:pt x="747876" y="393700"/>
                    <a:pt x="152237" y="393700"/>
                  </a:cubicBezTo>
                  <a:cubicBezTo>
                    <a:pt x="142953" y="393700"/>
                    <a:pt x="136525" y="386484"/>
                    <a:pt x="136525" y="377825"/>
                  </a:cubicBezTo>
                  <a:cubicBezTo>
                    <a:pt x="136525" y="369166"/>
                    <a:pt x="142953" y="361950"/>
                    <a:pt x="152237" y="361950"/>
                  </a:cubicBezTo>
                  <a:close/>
                  <a:moveTo>
                    <a:pt x="625475" y="114300"/>
                  </a:moveTo>
                  <a:cubicBezTo>
                    <a:pt x="625475" y="114300"/>
                    <a:pt x="625475" y="114300"/>
                    <a:pt x="882800" y="114300"/>
                  </a:cubicBezTo>
                  <a:cubicBezTo>
                    <a:pt x="892092" y="114300"/>
                    <a:pt x="898525" y="121437"/>
                    <a:pt x="898525" y="130001"/>
                  </a:cubicBezTo>
                  <a:cubicBezTo>
                    <a:pt x="898525" y="130001"/>
                    <a:pt x="898525" y="130001"/>
                    <a:pt x="898525" y="949325"/>
                  </a:cubicBezTo>
                  <a:cubicBezTo>
                    <a:pt x="888518" y="945043"/>
                    <a:pt x="878511" y="940761"/>
                    <a:pt x="867074" y="937906"/>
                  </a:cubicBezTo>
                  <a:cubicBezTo>
                    <a:pt x="867074" y="937906"/>
                    <a:pt x="867074" y="937906"/>
                    <a:pt x="867074" y="145703"/>
                  </a:cubicBezTo>
                  <a:cubicBezTo>
                    <a:pt x="867074" y="145703"/>
                    <a:pt x="867074" y="145703"/>
                    <a:pt x="625475" y="145703"/>
                  </a:cubicBezTo>
                  <a:cubicBezTo>
                    <a:pt x="625475" y="145703"/>
                    <a:pt x="625475" y="145703"/>
                    <a:pt x="625475" y="114300"/>
                  </a:cubicBezTo>
                  <a:close/>
                  <a:moveTo>
                    <a:pt x="15734" y="114300"/>
                  </a:moveTo>
                  <a:cubicBezTo>
                    <a:pt x="15734" y="114300"/>
                    <a:pt x="15734" y="114300"/>
                    <a:pt x="273195" y="114300"/>
                  </a:cubicBezTo>
                  <a:cubicBezTo>
                    <a:pt x="273195" y="114300"/>
                    <a:pt x="273195" y="114300"/>
                    <a:pt x="273195" y="145712"/>
                  </a:cubicBezTo>
                  <a:cubicBezTo>
                    <a:pt x="273195" y="145712"/>
                    <a:pt x="273195" y="145712"/>
                    <a:pt x="31468" y="145712"/>
                  </a:cubicBezTo>
                  <a:cubicBezTo>
                    <a:pt x="31468" y="145712"/>
                    <a:pt x="31468" y="145712"/>
                    <a:pt x="31468" y="1275102"/>
                  </a:cubicBezTo>
                  <a:cubicBezTo>
                    <a:pt x="31468" y="1275102"/>
                    <a:pt x="31468" y="1275102"/>
                    <a:pt x="618622" y="1275102"/>
                  </a:cubicBezTo>
                  <a:cubicBezTo>
                    <a:pt x="625774" y="1286524"/>
                    <a:pt x="633641" y="1297232"/>
                    <a:pt x="642938" y="1306513"/>
                  </a:cubicBezTo>
                  <a:cubicBezTo>
                    <a:pt x="642938" y="1306513"/>
                    <a:pt x="642938" y="1306513"/>
                    <a:pt x="15734" y="1306513"/>
                  </a:cubicBezTo>
                  <a:cubicBezTo>
                    <a:pt x="6437" y="1306513"/>
                    <a:pt x="0" y="1300088"/>
                    <a:pt x="0" y="1290807"/>
                  </a:cubicBezTo>
                  <a:cubicBezTo>
                    <a:pt x="0" y="1290807"/>
                    <a:pt x="0" y="1290807"/>
                    <a:pt x="0" y="130006"/>
                  </a:cubicBezTo>
                  <a:cubicBezTo>
                    <a:pt x="0" y="121439"/>
                    <a:pt x="6437" y="114300"/>
                    <a:pt x="15734" y="114300"/>
                  </a:cubicBezTo>
                  <a:close/>
                  <a:moveTo>
                    <a:pt x="449263" y="31750"/>
                  </a:moveTo>
                  <a:cubicBezTo>
                    <a:pt x="441427" y="31750"/>
                    <a:pt x="434304" y="33176"/>
                    <a:pt x="427180" y="35314"/>
                  </a:cubicBezTo>
                  <a:cubicBezTo>
                    <a:pt x="412933" y="41016"/>
                    <a:pt x="400824" y="52420"/>
                    <a:pt x="393700" y="66675"/>
                  </a:cubicBezTo>
                  <a:cubicBezTo>
                    <a:pt x="393700" y="66675"/>
                    <a:pt x="393700" y="66675"/>
                    <a:pt x="504825" y="66675"/>
                  </a:cubicBezTo>
                  <a:cubicBezTo>
                    <a:pt x="497702" y="52420"/>
                    <a:pt x="485592" y="41016"/>
                    <a:pt x="471345" y="35314"/>
                  </a:cubicBezTo>
                  <a:cubicBezTo>
                    <a:pt x="464222" y="33176"/>
                    <a:pt x="457098" y="31750"/>
                    <a:pt x="449263" y="31750"/>
                  </a:cubicBezTo>
                  <a:close/>
                  <a:moveTo>
                    <a:pt x="449262" y="0"/>
                  </a:moveTo>
                  <a:cubicBezTo>
                    <a:pt x="478615" y="0"/>
                    <a:pt x="505105" y="13529"/>
                    <a:pt x="522287" y="34890"/>
                  </a:cubicBezTo>
                  <a:cubicBezTo>
                    <a:pt x="529447" y="44147"/>
                    <a:pt x="535174" y="54827"/>
                    <a:pt x="538754" y="66220"/>
                  </a:cubicBezTo>
                  <a:cubicBezTo>
                    <a:pt x="538754" y="66220"/>
                    <a:pt x="538754" y="66220"/>
                    <a:pt x="588153" y="66220"/>
                  </a:cubicBezTo>
                  <a:cubicBezTo>
                    <a:pt x="591733" y="66220"/>
                    <a:pt x="595312" y="69068"/>
                    <a:pt x="595312" y="73340"/>
                  </a:cubicBezTo>
                  <a:cubicBezTo>
                    <a:pt x="595312" y="73340"/>
                    <a:pt x="595312" y="73340"/>
                    <a:pt x="595312" y="113927"/>
                  </a:cubicBezTo>
                  <a:cubicBezTo>
                    <a:pt x="595312" y="113927"/>
                    <a:pt x="595312" y="113927"/>
                    <a:pt x="595312" y="145256"/>
                  </a:cubicBezTo>
                  <a:cubicBezTo>
                    <a:pt x="595312" y="145256"/>
                    <a:pt x="595312" y="145256"/>
                    <a:pt x="595312" y="178010"/>
                  </a:cubicBezTo>
                  <a:cubicBezTo>
                    <a:pt x="595312" y="186555"/>
                    <a:pt x="588153" y="193675"/>
                    <a:pt x="579562" y="193675"/>
                  </a:cubicBezTo>
                  <a:cubicBezTo>
                    <a:pt x="579562" y="193675"/>
                    <a:pt x="579562" y="193675"/>
                    <a:pt x="318963" y="193675"/>
                  </a:cubicBezTo>
                  <a:cubicBezTo>
                    <a:pt x="310372" y="193675"/>
                    <a:pt x="303212" y="186555"/>
                    <a:pt x="303212" y="178010"/>
                  </a:cubicBezTo>
                  <a:cubicBezTo>
                    <a:pt x="303212" y="178010"/>
                    <a:pt x="303212" y="178010"/>
                    <a:pt x="303212" y="145256"/>
                  </a:cubicBezTo>
                  <a:cubicBezTo>
                    <a:pt x="303212" y="145256"/>
                    <a:pt x="303212" y="145256"/>
                    <a:pt x="303212" y="113927"/>
                  </a:cubicBezTo>
                  <a:cubicBezTo>
                    <a:pt x="303212" y="113927"/>
                    <a:pt x="303212" y="113927"/>
                    <a:pt x="303212" y="73340"/>
                  </a:cubicBezTo>
                  <a:cubicBezTo>
                    <a:pt x="303212" y="69068"/>
                    <a:pt x="306792" y="66220"/>
                    <a:pt x="310372" y="66220"/>
                  </a:cubicBezTo>
                  <a:cubicBezTo>
                    <a:pt x="310372" y="66220"/>
                    <a:pt x="310372" y="66220"/>
                    <a:pt x="359771" y="66220"/>
                  </a:cubicBezTo>
                  <a:cubicBezTo>
                    <a:pt x="363350" y="54827"/>
                    <a:pt x="369078" y="44147"/>
                    <a:pt x="376237" y="34890"/>
                  </a:cubicBezTo>
                  <a:cubicBezTo>
                    <a:pt x="393420" y="13529"/>
                    <a:pt x="419909" y="0"/>
                    <a:pt x="44926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87" name="bcgIconsWhite_Target ">
            <a:extLst>
              <a:ext uri="{FF2B5EF4-FFF2-40B4-BE49-F238E27FC236}">
                <a16:creationId xmlns:a16="http://schemas.microsoft.com/office/drawing/2014/main" id="{E2B449B5-6A10-BCDE-8A6F-AD7F1F2A3ABA}"/>
              </a:ext>
            </a:extLst>
          </p:cNvPr>
          <p:cNvGrpSpPr>
            <a:grpSpLocks noChangeAspect="1"/>
          </p:cNvGrpSpPr>
          <p:nvPr/>
        </p:nvGrpSpPr>
        <p:grpSpPr>
          <a:xfrm>
            <a:off x="1182845" y="3721558"/>
            <a:ext cx="502920" cy="502920"/>
            <a:chOff x="5273675" y="2606675"/>
            <a:chExt cx="1644650" cy="1644650"/>
          </a:xfrm>
        </p:grpSpPr>
        <p:sp>
          <p:nvSpPr>
            <p:cNvPr id="88" name="AutoShape 3">
              <a:extLst>
                <a:ext uri="{FF2B5EF4-FFF2-40B4-BE49-F238E27FC236}">
                  <a16:creationId xmlns:a16="http://schemas.microsoft.com/office/drawing/2014/main" id="{88F56C76-E996-F5B4-AEB4-E5CD8B4DA8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5">
              <a:extLst>
                <a:ext uri="{FF2B5EF4-FFF2-40B4-BE49-F238E27FC236}">
                  <a16:creationId xmlns:a16="http://schemas.microsoft.com/office/drawing/2014/main" id="{3A3C469A-16CD-5F63-9D18-0226D6CFF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2895600"/>
              <a:ext cx="1216741" cy="1071563"/>
            </a:xfrm>
            <a:custGeom>
              <a:avLst/>
              <a:gdLst>
                <a:gd name="connsiteX0" fmla="*/ 536139 w 1216741"/>
                <a:gd name="connsiteY0" fmla="*/ 336550 h 1071563"/>
                <a:gd name="connsiteX1" fmla="*/ 662761 w 1216741"/>
                <a:gd name="connsiteY1" fmla="*/ 382252 h 1071563"/>
                <a:gd name="connsiteX2" fmla="*/ 584069 w 1216741"/>
                <a:gd name="connsiteY2" fmla="*/ 435809 h 1071563"/>
                <a:gd name="connsiteX3" fmla="*/ 536139 w 1216741"/>
                <a:gd name="connsiteY3" fmla="*/ 425097 h 1071563"/>
                <a:gd name="connsiteX4" fmla="*/ 425257 w 1216741"/>
                <a:gd name="connsiteY4" fmla="*/ 535782 h 1071563"/>
                <a:gd name="connsiteX5" fmla="*/ 536139 w 1216741"/>
                <a:gd name="connsiteY5" fmla="*/ 646466 h 1071563"/>
                <a:gd name="connsiteX6" fmla="*/ 646307 w 1216741"/>
                <a:gd name="connsiteY6" fmla="*/ 535782 h 1071563"/>
                <a:gd name="connsiteX7" fmla="*/ 646307 w 1216741"/>
                <a:gd name="connsiteY7" fmla="*/ 526498 h 1071563"/>
                <a:gd name="connsiteX8" fmla="*/ 724998 w 1216741"/>
                <a:gd name="connsiteY8" fmla="*/ 472227 h 1071563"/>
                <a:gd name="connsiteX9" fmla="*/ 735013 w 1216741"/>
                <a:gd name="connsiteY9" fmla="*/ 535782 h 1071563"/>
                <a:gd name="connsiteX10" fmla="*/ 536139 w 1216741"/>
                <a:gd name="connsiteY10" fmla="*/ 735013 h 1071563"/>
                <a:gd name="connsiteX11" fmla="*/ 336550 w 1216741"/>
                <a:gd name="connsiteY11" fmla="*/ 535782 h 1071563"/>
                <a:gd name="connsiteX12" fmla="*/ 536139 w 1216741"/>
                <a:gd name="connsiteY12" fmla="*/ 336550 h 1071563"/>
                <a:gd name="connsiteX13" fmla="*/ 536933 w 1216741"/>
                <a:gd name="connsiteY13" fmla="*/ 171450 h 1071563"/>
                <a:gd name="connsiteX14" fmla="*/ 802998 w 1216741"/>
                <a:gd name="connsiteY14" fmla="*/ 286240 h 1071563"/>
                <a:gd name="connsiteX15" fmla="*/ 728615 w 1216741"/>
                <a:gd name="connsiteY15" fmla="*/ 337574 h 1071563"/>
                <a:gd name="connsiteX16" fmla="*/ 536933 w 1216741"/>
                <a:gd name="connsiteY16" fmla="*/ 259859 h 1071563"/>
                <a:gd name="connsiteX17" fmla="*/ 260139 w 1216741"/>
                <a:gd name="connsiteY17" fmla="*/ 535782 h 1071563"/>
                <a:gd name="connsiteX18" fmla="*/ 536933 w 1216741"/>
                <a:gd name="connsiteY18" fmla="*/ 811704 h 1071563"/>
                <a:gd name="connsiteX19" fmla="*/ 813012 w 1216741"/>
                <a:gd name="connsiteY19" fmla="*/ 535782 h 1071563"/>
                <a:gd name="connsiteX20" fmla="*/ 790840 w 1216741"/>
                <a:gd name="connsiteY20" fmla="*/ 427409 h 1071563"/>
                <a:gd name="connsiteX21" fmla="*/ 865223 w 1216741"/>
                <a:gd name="connsiteY21" fmla="*/ 376788 h 1071563"/>
                <a:gd name="connsiteX22" fmla="*/ 901700 w 1216741"/>
                <a:gd name="connsiteY22" fmla="*/ 535782 h 1071563"/>
                <a:gd name="connsiteX23" fmla="*/ 536933 w 1216741"/>
                <a:gd name="connsiteY23" fmla="*/ 900113 h 1071563"/>
                <a:gd name="connsiteX24" fmla="*/ 171450 w 1216741"/>
                <a:gd name="connsiteY24" fmla="*/ 535782 h 1071563"/>
                <a:gd name="connsiteX25" fmla="*/ 536933 w 1216741"/>
                <a:gd name="connsiteY25" fmla="*/ 171450 h 1071563"/>
                <a:gd name="connsiteX26" fmla="*/ 1150106 w 1216741"/>
                <a:gd name="connsiteY26" fmla="*/ 160165 h 1071563"/>
                <a:gd name="connsiteX27" fmla="*/ 1151542 w 1216741"/>
                <a:gd name="connsiteY27" fmla="*/ 160165 h 1071563"/>
                <a:gd name="connsiteX28" fmla="*/ 1213303 w 1216741"/>
                <a:gd name="connsiteY28" fmla="*/ 165825 h 1071563"/>
                <a:gd name="connsiteX29" fmla="*/ 1214740 w 1216741"/>
                <a:gd name="connsiteY29" fmla="*/ 172192 h 1071563"/>
                <a:gd name="connsiteX30" fmla="*/ 1043819 w 1216741"/>
                <a:gd name="connsiteY30" fmla="*/ 288218 h 1071563"/>
                <a:gd name="connsiteX31" fmla="*/ 1039510 w 1216741"/>
                <a:gd name="connsiteY31" fmla="*/ 288925 h 1071563"/>
                <a:gd name="connsiteX32" fmla="*/ 979185 w 1216741"/>
                <a:gd name="connsiteY32" fmla="*/ 281850 h 1071563"/>
                <a:gd name="connsiteX33" fmla="*/ 977749 w 1216741"/>
                <a:gd name="connsiteY33" fmla="*/ 275483 h 1071563"/>
                <a:gd name="connsiteX34" fmla="*/ 1150106 w 1216741"/>
                <a:gd name="connsiteY34" fmla="*/ 160165 h 1071563"/>
                <a:gd name="connsiteX35" fmla="*/ 1164252 w 1216741"/>
                <a:gd name="connsiteY35" fmla="*/ 89549 h 1071563"/>
                <a:gd name="connsiteX36" fmla="*/ 1174515 w 1216741"/>
                <a:gd name="connsiteY36" fmla="*/ 95897 h 1071563"/>
                <a:gd name="connsiteX37" fmla="*/ 1170231 w 1216741"/>
                <a:gd name="connsiteY37" fmla="*/ 118073 h 1071563"/>
                <a:gd name="connsiteX38" fmla="*/ 546242 w 1216741"/>
                <a:gd name="connsiteY38" fmla="*/ 548002 h 1071563"/>
                <a:gd name="connsiteX39" fmla="*/ 536961 w 1216741"/>
                <a:gd name="connsiteY39" fmla="*/ 550863 h 1071563"/>
                <a:gd name="connsiteX40" fmla="*/ 524110 w 1216741"/>
                <a:gd name="connsiteY40" fmla="*/ 543710 h 1071563"/>
                <a:gd name="connsiteX41" fmla="*/ 528394 w 1216741"/>
                <a:gd name="connsiteY41" fmla="*/ 522964 h 1071563"/>
                <a:gd name="connsiteX42" fmla="*/ 1152382 w 1216741"/>
                <a:gd name="connsiteY42" fmla="*/ 92321 h 1071563"/>
                <a:gd name="connsiteX43" fmla="*/ 1164252 w 1216741"/>
                <a:gd name="connsiteY43" fmla="*/ 89549 h 1071563"/>
                <a:gd name="connsiteX44" fmla="*/ 1119129 w 1216741"/>
                <a:gd name="connsiteY44" fmla="*/ 33891 h 1071563"/>
                <a:gd name="connsiteX45" fmla="*/ 1124825 w 1216741"/>
                <a:gd name="connsiteY45" fmla="*/ 37460 h 1071563"/>
                <a:gd name="connsiteX46" fmla="*/ 1108448 w 1216741"/>
                <a:gd name="connsiteY46" fmla="*/ 96702 h 1071563"/>
                <a:gd name="connsiteX47" fmla="*/ 1107736 w 1216741"/>
                <a:gd name="connsiteY47" fmla="*/ 98130 h 1071563"/>
                <a:gd name="connsiteX48" fmla="*/ 938271 w 1216741"/>
                <a:gd name="connsiteY48" fmla="*/ 215186 h 1071563"/>
                <a:gd name="connsiteX49" fmla="*/ 932574 w 1216741"/>
                <a:gd name="connsiteY49" fmla="*/ 212331 h 1071563"/>
                <a:gd name="connsiteX50" fmla="*/ 946815 w 1216741"/>
                <a:gd name="connsiteY50" fmla="*/ 153803 h 1071563"/>
                <a:gd name="connsiteX51" fmla="*/ 948951 w 1216741"/>
                <a:gd name="connsiteY51" fmla="*/ 150234 h 1071563"/>
                <a:gd name="connsiteX52" fmla="*/ 1119129 w 1216741"/>
                <a:gd name="connsiteY52" fmla="*/ 33891 h 1071563"/>
                <a:gd name="connsiteX53" fmla="*/ 536139 w 1216741"/>
                <a:gd name="connsiteY53" fmla="*/ 0 h 1071563"/>
                <a:gd name="connsiteX54" fmla="*/ 908577 w 1216741"/>
                <a:gd name="connsiteY54" fmla="*/ 150533 h 1071563"/>
                <a:gd name="connsiteX55" fmla="*/ 889276 w 1216741"/>
                <a:gd name="connsiteY55" fmla="*/ 226156 h 1071563"/>
                <a:gd name="connsiteX56" fmla="*/ 870690 w 1216741"/>
                <a:gd name="connsiteY56" fmla="*/ 238997 h 1071563"/>
                <a:gd name="connsiteX57" fmla="*/ 536139 w 1216741"/>
                <a:gd name="connsiteY57" fmla="*/ 88465 h 1071563"/>
                <a:gd name="connsiteX58" fmla="*/ 88642 w 1216741"/>
                <a:gd name="connsiteY58" fmla="*/ 535782 h 1071563"/>
                <a:gd name="connsiteX59" fmla="*/ 536139 w 1216741"/>
                <a:gd name="connsiteY59" fmla="*/ 983099 h 1071563"/>
                <a:gd name="connsiteX60" fmla="*/ 983636 w 1216741"/>
                <a:gd name="connsiteY60" fmla="*/ 535782 h 1071563"/>
                <a:gd name="connsiteX61" fmla="*/ 932882 w 1216741"/>
                <a:gd name="connsiteY61" fmla="*/ 328889 h 1071563"/>
                <a:gd name="connsiteX62" fmla="*/ 951468 w 1216741"/>
                <a:gd name="connsiteY62" fmla="*/ 316047 h 1071563"/>
                <a:gd name="connsiteX63" fmla="*/ 1029387 w 1216741"/>
                <a:gd name="connsiteY63" fmla="*/ 325322 h 1071563"/>
                <a:gd name="connsiteX64" fmla="*/ 1071563 w 1216741"/>
                <a:gd name="connsiteY64" fmla="*/ 535782 h 1071563"/>
                <a:gd name="connsiteX65" fmla="*/ 536139 w 1216741"/>
                <a:gd name="connsiteY65" fmla="*/ 1071563 h 1071563"/>
                <a:gd name="connsiteX66" fmla="*/ 0 w 1216741"/>
                <a:gd name="connsiteY66" fmla="*/ 535782 h 1071563"/>
                <a:gd name="connsiteX67" fmla="*/ 536139 w 1216741"/>
                <a:gd name="connsiteY67" fmla="*/ 0 h 1071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216741" h="1071563">
                  <a:moveTo>
                    <a:pt x="536139" y="336550"/>
                  </a:moveTo>
                  <a:cubicBezTo>
                    <a:pt x="583354" y="336550"/>
                    <a:pt x="627707" y="353688"/>
                    <a:pt x="662761" y="382252"/>
                  </a:cubicBezTo>
                  <a:cubicBezTo>
                    <a:pt x="584069" y="435809"/>
                    <a:pt x="584069" y="435809"/>
                    <a:pt x="584069" y="435809"/>
                  </a:cubicBezTo>
                  <a:cubicBezTo>
                    <a:pt x="569762" y="428668"/>
                    <a:pt x="553308" y="425097"/>
                    <a:pt x="536139" y="425097"/>
                  </a:cubicBezTo>
                  <a:cubicBezTo>
                    <a:pt x="474617" y="425097"/>
                    <a:pt x="425257" y="474370"/>
                    <a:pt x="425257" y="535782"/>
                  </a:cubicBezTo>
                  <a:cubicBezTo>
                    <a:pt x="425257" y="596479"/>
                    <a:pt x="474617" y="646466"/>
                    <a:pt x="536139" y="646466"/>
                  </a:cubicBezTo>
                  <a:cubicBezTo>
                    <a:pt x="596946" y="646466"/>
                    <a:pt x="646307" y="596479"/>
                    <a:pt x="646307" y="535782"/>
                  </a:cubicBezTo>
                  <a:cubicBezTo>
                    <a:pt x="646307" y="532211"/>
                    <a:pt x="646307" y="529355"/>
                    <a:pt x="646307" y="526498"/>
                  </a:cubicBezTo>
                  <a:cubicBezTo>
                    <a:pt x="724998" y="472227"/>
                    <a:pt x="724998" y="472227"/>
                    <a:pt x="724998" y="472227"/>
                  </a:cubicBezTo>
                  <a:cubicBezTo>
                    <a:pt x="731436" y="492222"/>
                    <a:pt x="735013" y="513645"/>
                    <a:pt x="735013" y="535782"/>
                  </a:cubicBezTo>
                  <a:cubicBezTo>
                    <a:pt x="735013" y="645752"/>
                    <a:pt x="645592" y="735013"/>
                    <a:pt x="536139" y="735013"/>
                  </a:cubicBezTo>
                  <a:cubicBezTo>
                    <a:pt x="425972" y="735013"/>
                    <a:pt x="336550" y="645752"/>
                    <a:pt x="336550" y="535782"/>
                  </a:cubicBezTo>
                  <a:cubicBezTo>
                    <a:pt x="336550" y="425812"/>
                    <a:pt x="425972" y="336550"/>
                    <a:pt x="536139" y="336550"/>
                  </a:cubicBezTo>
                  <a:close/>
                  <a:moveTo>
                    <a:pt x="536933" y="171450"/>
                  </a:moveTo>
                  <a:cubicBezTo>
                    <a:pt x="641356" y="171450"/>
                    <a:pt x="735767" y="215655"/>
                    <a:pt x="802998" y="286240"/>
                  </a:cubicBezTo>
                  <a:cubicBezTo>
                    <a:pt x="802998" y="286240"/>
                    <a:pt x="802998" y="286240"/>
                    <a:pt x="728615" y="337574"/>
                  </a:cubicBezTo>
                  <a:cubicBezTo>
                    <a:pt x="678548" y="289091"/>
                    <a:pt x="610602" y="259859"/>
                    <a:pt x="536933" y="259859"/>
                  </a:cubicBezTo>
                  <a:cubicBezTo>
                    <a:pt x="383874" y="259859"/>
                    <a:pt x="260139" y="383204"/>
                    <a:pt x="260139" y="535782"/>
                  </a:cubicBezTo>
                  <a:cubicBezTo>
                    <a:pt x="260139" y="687646"/>
                    <a:pt x="383874" y="811704"/>
                    <a:pt x="536933" y="811704"/>
                  </a:cubicBezTo>
                  <a:cubicBezTo>
                    <a:pt x="688562" y="811704"/>
                    <a:pt x="813012" y="687646"/>
                    <a:pt x="813012" y="535782"/>
                  </a:cubicBezTo>
                  <a:cubicBezTo>
                    <a:pt x="813012" y="497281"/>
                    <a:pt x="805144" y="460919"/>
                    <a:pt x="790840" y="427409"/>
                  </a:cubicBezTo>
                  <a:cubicBezTo>
                    <a:pt x="790840" y="427409"/>
                    <a:pt x="790840" y="427409"/>
                    <a:pt x="865223" y="376788"/>
                  </a:cubicBezTo>
                  <a:cubicBezTo>
                    <a:pt x="888826" y="424557"/>
                    <a:pt x="901700" y="478743"/>
                    <a:pt x="901700" y="535782"/>
                  </a:cubicBezTo>
                  <a:cubicBezTo>
                    <a:pt x="901700" y="736841"/>
                    <a:pt x="737913" y="900113"/>
                    <a:pt x="536933" y="900113"/>
                  </a:cubicBezTo>
                  <a:cubicBezTo>
                    <a:pt x="335238" y="900113"/>
                    <a:pt x="171450" y="736841"/>
                    <a:pt x="171450" y="535782"/>
                  </a:cubicBezTo>
                  <a:cubicBezTo>
                    <a:pt x="171450" y="334722"/>
                    <a:pt x="335238" y="171450"/>
                    <a:pt x="536933" y="171450"/>
                  </a:cubicBezTo>
                  <a:close/>
                  <a:moveTo>
                    <a:pt x="1150106" y="160165"/>
                  </a:moveTo>
                  <a:cubicBezTo>
                    <a:pt x="1150106" y="158750"/>
                    <a:pt x="1150106" y="158750"/>
                    <a:pt x="1151542" y="160165"/>
                  </a:cubicBezTo>
                  <a:cubicBezTo>
                    <a:pt x="1151542" y="160165"/>
                    <a:pt x="1151542" y="160165"/>
                    <a:pt x="1213303" y="165825"/>
                  </a:cubicBezTo>
                  <a:cubicBezTo>
                    <a:pt x="1217612" y="165825"/>
                    <a:pt x="1217612" y="170777"/>
                    <a:pt x="1214740" y="172192"/>
                  </a:cubicBezTo>
                  <a:cubicBezTo>
                    <a:pt x="1214740" y="172192"/>
                    <a:pt x="1214740" y="172192"/>
                    <a:pt x="1043819" y="288218"/>
                  </a:cubicBezTo>
                  <a:cubicBezTo>
                    <a:pt x="1042382" y="288218"/>
                    <a:pt x="1042382" y="288218"/>
                    <a:pt x="1039510" y="288925"/>
                  </a:cubicBezTo>
                  <a:cubicBezTo>
                    <a:pt x="1039510" y="288925"/>
                    <a:pt x="1039510" y="288925"/>
                    <a:pt x="979185" y="281850"/>
                  </a:cubicBezTo>
                  <a:cubicBezTo>
                    <a:pt x="976312" y="281143"/>
                    <a:pt x="976312" y="278313"/>
                    <a:pt x="977749" y="275483"/>
                  </a:cubicBezTo>
                  <a:cubicBezTo>
                    <a:pt x="977749" y="275483"/>
                    <a:pt x="977749" y="275483"/>
                    <a:pt x="1150106" y="160165"/>
                  </a:cubicBezTo>
                  <a:close/>
                  <a:moveTo>
                    <a:pt x="1164252" y="89549"/>
                  </a:moveTo>
                  <a:cubicBezTo>
                    <a:pt x="1168268" y="90175"/>
                    <a:pt x="1172016" y="92321"/>
                    <a:pt x="1174515" y="95897"/>
                  </a:cubicBezTo>
                  <a:cubicBezTo>
                    <a:pt x="1179512" y="103051"/>
                    <a:pt x="1177370" y="113066"/>
                    <a:pt x="1170231" y="118073"/>
                  </a:cubicBezTo>
                  <a:cubicBezTo>
                    <a:pt x="546242" y="548002"/>
                    <a:pt x="546242" y="548002"/>
                    <a:pt x="546242" y="548002"/>
                  </a:cubicBezTo>
                  <a:cubicBezTo>
                    <a:pt x="543386" y="550148"/>
                    <a:pt x="540531" y="550863"/>
                    <a:pt x="536961" y="550863"/>
                  </a:cubicBezTo>
                  <a:cubicBezTo>
                    <a:pt x="531963" y="550863"/>
                    <a:pt x="526966" y="548717"/>
                    <a:pt x="524110" y="543710"/>
                  </a:cubicBezTo>
                  <a:cubicBezTo>
                    <a:pt x="519112" y="537271"/>
                    <a:pt x="521254" y="527972"/>
                    <a:pt x="528394" y="522964"/>
                  </a:cubicBezTo>
                  <a:cubicBezTo>
                    <a:pt x="1152382" y="92321"/>
                    <a:pt x="1152382" y="92321"/>
                    <a:pt x="1152382" y="92321"/>
                  </a:cubicBezTo>
                  <a:cubicBezTo>
                    <a:pt x="1155952" y="89817"/>
                    <a:pt x="1160236" y="88923"/>
                    <a:pt x="1164252" y="89549"/>
                  </a:cubicBezTo>
                  <a:close/>
                  <a:moveTo>
                    <a:pt x="1119129" y="33891"/>
                  </a:moveTo>
                  <a:cubicBezTo>
                    <a:pt x="1121977" y="31750"/>
                    <a:pt x="1125537" y="33891"/>
                    <a:pt x="1124825" y="37460"/>
                  </a:cubicBezTo>
                  <a:cubicBezTo>
                    <a:pt x="1108448" y="96702"/>
                    <a:pt x="1108448" y="96702"/>
                    <a:pt x="1108448" y="96702"/>
                  </a:cubicBezTo>
                  <a:cubicBezTo>
                    <a:pt x="1108448" y="98130"/>
                    <a:pt x="1108448" y="98130"/>
                    <a:pt x="1107736" y="98130"/>
                  </a:cubicBezTo>
                  <a:cubicBezTo>
                    <a:pt x="938271" y="215186"/>
                    <a:pt x="938271" y="215186"/>
                    <a:pt x="938271" y="215186"/>
                  </a:cubicBezTo>
                  <a:cubicBezTo>
                    <a:pt x="935422" y="215900"/>
                    <a:pt x="931862" y="215186"/>
                    <a:pt x="932574" y="212331"/>
                  </a:cubicBezTo>
                  <a:cubicBezTo>
                    <a:pt x="946815" y="153803"/>
                    <a:pt x="946815" y="153803"/>
                    <a:pt x="946815" y="153803"/>
                  </a:cubicBezTo>
                  <a:cubicBezTo>
                    <a:pt x="948239" y="151662"/>
                    <a:pt x="948239" y="151662"/>
                    <a:pt x="948951" y="150234"/>
                  </a:cubicBezTo>
                  <a:cubicBezTo>
                    <a:pt x="1119129" y="33891"/>
                    <a:pt x="1119129" y="33891"/>
                    <a:pt x="1119129" y="33891"/>
                  </a:cubicBezTo>
                  <a:close/>
                  <a:moveTo>
                    <a:pt x="536139" y="0"/>
                  </a:moveTo>
                  <a:cubicBezTo>
                    <a:pt x="680539" y="0"/>
                    <a:pt x="812072" y="57074"/>
                    <a:pt x="908577" y="150533"/>
                  </a:cubicBezTo>
                  <a:cubicBezTo>
                    <a:pt x="908577" y="150533"/>
                    <a:pt x="908577" y="150533"/>
                    <a:pt x="889276" y="226156"/>
                  </a:cubicBezTo>
                  <a:cubicBezTo>
                    <a:pt x="889276" y="226156"/>
                    <a:pt x="889276" y="226156"/>
                    <a:pt x="870690" y="238997"/>
                  </a:cubicBezTo>
                  <a:cubicBezTo>
                    <a:pt x="788482" y="146252"/>
                    <a:pt x="668387" y="88465"/>
                    <a:pt x="536139" y="88465"/>
                  </a:cubicBezTo>
                  <a:cubicBezTo>
                    <a:pt x="288800" y="88465"/>
                    <a:pt x="88642" y="288937"/>
                    <a:pt x="88642" y="535782"/>
                  </a:cubicBezTo>
                  <a:cubicBezTo>
                    <a:pt x="88642" y="782626"/>
                    <a:pt x="288800" y="983099"/>
                    <a:pt x="536139" y="983099"/>
                  </a:cubicBezTo>
                  <a:cubicBezTo>
                    <a:pt x="782763" y="983099"/>
                    <a:pt x="983636" y="782626"/>
                    <a:pt x="983636" y="535782"/>
                  </a:cubicBezTo>
                  <a:cubicBezTo>
                    <a:pt x="983636" y="460872"/>
                    <a:pt x="965050" y="390957"/>
                    <a:pt x="932882" y="328889"/>
                  </a:cubicBezTo>
                  <a:cubicBezTo>
                    <a:pt x="932882" y="328889"/>
                    <a:pt x="932882" y="328889"/>
                    <a:pt x="951468" y="316047"/>
                  </a:cubicBezTo>
                  <a:cubicBezTo>
                    <a:pt x="951468" y="316047"/>
                    <a:pt x="951468" y="316047"/>
                    <a:pt x="1029387" y="325322"/>
                  </a:cubicBezTo>
                  <a:cubicBezTo>
                    <a:pt x="1056551" y="390243"/>
                    <a:pt x="1071563" y="460872"/>
                    <a:pt x="1071563" y="535782"/>
                  </a:cubicBezTo>
                  <a:cubicBezTo>
                    <a:pt x="1071563" y="831139"/>
                    <a:pt x="831373" y="1071563"/>
                    <a:pt x="536139" y="1071563"/>
                  </a:cubicBezTo>
                  <a:cubicBezTo>
                    <a:pt x="240190" y="1071563"/>
                    <a:pt x="0" y="831139"/>
                    <a:pt x="0" y="535782"/>
                  </a:cubicBezTo>
                  <a:cubicBezTo>
                    <a:pt x="0" y="240424"/>
                    <a:pt x="240190" y="0"/>
                    <a:pt x="5361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1FC85A69-27E3-7307-1F7D-28BC5AEF3589}"/>
              </a:ext>
            </a:extLst>
          </p:cNvPr>
          <p:cNvGrpSpPr/>
          <p:nvPr/>
        </p:nvGrpSpPr>
        <p:grpSpPr>
          <a:xfrm>
            <a:off x="2428876" y="4847384"/>
            <a:ext cx="2129790" cy="262297"/>
            <a:chOff x="2428876" y="4871356"/>
            <a:chExt cx="2129790" cy="262297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A0DAF8ED-F040-A4A6-3068-5C8C4ADB6BCD}"/>
                </a:ext>
              </a:extLst>
            </p:cNvPr>
            <p:cNvGrpSpPr/>
            <p:nvPr/>
          </p:nvGrpSpPr>
          <p:grpSpPr>
            <a:xfrm rot="5400000">
              <a:off x="3362623" y="4871356"/>
              <a:ext cx="262297" cy="262297"/>
              <a:chOff x="4040932" y="3505761"/>
              <a:chExt cx="314413" cy="314413"/>
            </a:xfrm>
          </p:grpSpPr>
          <p:sp>
            <p:nvSpPr>
              <p:cNvPr id="91" name="Oval 50">
                <a:extLst>
                  <a:ext uri="{FF2B5EF4-FFF2-40B4-BE49-F238E27FC236}">
                    <a16:creationId xmlns:a16="http://schemas.microsoft.com/office/drawing/2014/main" id="{0CA173A1-AFE0-0E56-9BE5-4FA7600778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40932" y="3505761"/>
                <a:ext cx="314413" cy="314413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5EE286DB-915A-3851-F8F0-8E6AA13E6CF9}"/>
                  </a:ext>
                </a:extLst>
              </p:cNvPr>
              <p:cNvGrpSpPr/>
              <p:nvPr/>
            </p:nvGrpSpPr>
            <p:grpSpPr>
              <a:xfrm>
                <a:off x="4140655" y="3575853"/>
                <a:ext cx="140991" cy="174230"/>
                <a:chOff x="3847372" y="1895474"/>
                <a:chExt cx="799685" cy="988219"/>
              </a:xfrm>
            </p:grpSpPr>
            <p:sp>
              <p:nvSpPr>
                <p:cNvPr id="93" name="Arrow: Chevron 92">
                  <a:extLst>
                    <a:ext uri="{FF2B5EF4-FFF2-40B4-BE49-F238E27FC236}">
                      <a16:creationId xmlns:a16="http://schemas.microsoft.com/office/drawing/2014/main" id="{E825F83B-41E4-D14D-B3B1-1098E89BCE81}"/>
                    </a:ext>
                  </a:extLst>
                </p:cNvPr>
                <p:cNvSpPr/>
                <p:nvPr/>
              </p:nvSpPr>
              <p:spPr>
                <a:xfrm>
                  <a:off x="4162425" y="1895474"/>
                  <a:ext cx="484632" cy="988219"/>
                </a:xfrm>
                <a:prstGeom prst="chevron">
                  <a:avLst/>
                </a:prstGeom>
                <a:solidFill>
                  <a:schemeClr val="bg2">
                    <a:lumMod val="75000"/>
                  </a:schemeClr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94" name="Arrow: Chevron 93">
                  <a:extLst>
                    <a:ext uri="{FF2B5EF4-FFF2-40B4-BE49-F238E27FC236}">
                      <a16:creationId xmlns:a16="http://schemas.microsoft.com/office/drawing/2014/main" id="{8067768E-0409-1046-BD9D-9B951432BBB4}"/>
                    </a:ext>
                  </a:extLst>
                </p:cNvPr>
                <p:cNvSpPr/>
                <p:nvPr/>
              </p:nvSpPr>
              <p:spPr>
                <a:xfrm>
                  <a:off x="3847372" y="1895474"/>
                  <a:ext cx="484632" cy="988219"/>
                </a:xfrm>
                <a:prstGeom prst="chevron">
                  <a:avLst/>
                </a:prstGeom>
                <a:solidFill>
                  <a:schemeClr val="bg1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</p:grpSp>
        </p:grp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518BF13A-8AFD-1E38-E71A-0BD488FB3984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4137811" y="4576425"/>
              <a:ext cx="0" cy="841711"/>
            </a:xfrm>
            <a:prstGeom prst="line">
              <a:avLst/>
            </a:prstGeom>
            <a:ln w="9525" cap="rnd">
              <a:gradFill flip="none" rotWithShape="1">
                <a:gsLst>
                  <a:gs pos="50000">
                    <a:srgbClr val="C5C5C5"/>
                  </a:gs>
                  <a:gs pos="0">
                    <a:srgbClr val="EEEAD8"/>
                  </a:gs>
                  <a:gs pos="100000">
                    <a:srgbClr val="A5A5A5"/>
                  </a:gs>
                </a:gsLst>
                <a:lin ang="16200000" scaled="1"/>
                <a:tileRect/>
              </a:gra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DDA3854-9F11-7E95-5E67-87454E1AE97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849731" y="4576425"/>
              <a:ext cx="0" cy="841710"/>
            </a:xfrm>
            <a:prstGeom prst="line">
              <a:avLst/>
            </a:prstGeom>
            <a:ln w="9525" cap="rnd">
              <a:gradFill flip="none" rotWithShape="1">
                <a:gsLst>
                  <a:gs pos="50000">
                    <a:srgbClr val="C5C5C5"/>
                  </a:gs>
                  <a:gs pos="0">
                    <a:srgbClr val="EEEAD8"/>
                  </a:gs>
                  <a:gs pos="100000">
                    <a:srgbClr val="A5A5A5"/>
                  </a:gs>
                </a:gsLst>
                <a:lin ang="16200000" scaled="1"/>
                <a:tileRect/>
              </a:gra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5F750BD-06DD-2C82-9521-CC21595140CE}"/>
              </a:ext>
            </a:extLst>
          </p:cNvPr>
          <p:cNvGrpSpPr/>
          <p:nvPr/>
        </p:nvGrpSpPr>
        <p:grpSpPr>
          <a:xfrm>
            <a:off x="4741545" y="4847384"/>
            <a:ext cx="2129790" cy="262297"/>
            <a:chOff x="2428876" y="4871356"/>
            <a:chExt cx="2129790" cy="262297"/>
          </a:xfrm>
        </p:grpSpPr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747E1ED2-4B55-9087-7886-52443A36ACBD}"/>
                </a:ext>
              </a:extLst>
            </p:cNvPr>
            <p:cNvGrpSpPr/>
            <p:nvPr/>
          </p:nvGrpSpPr>
          <p:grpSpPr>
            <a:xfrm rot="5400000">
              <a:off x="3362623" y="4871356"/>
              <a:ext cx="262297" cy="262297"/>
              <a:chOff x="4040932" y="3505761"/>
              <a:chExt cx="314413" cy="314413"/>
            </a:xfrm>
          </p:grpSpPr>
          <p:sp>
            <p:nvSpPr>
              <p:cNvPr id="104" name="Oval 50">
                <a:extLst>
                  <a:ext uri="{FF2B5EF4-FFF2-40B4-BE49-F238E27FC236}">
                    <a16:creationId xmlns:a16="http://schemas.microsoft.com/office/drawing/2014/main" id="{47D49288-5ED9-FD5E-41F8-68F67648AB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40932" y="3505761"/>
                <a:ext cx="314413" cy="314413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FE2C8DE7-2AAE-76EF-345A-8A8C8C09BAE5}"/>
                  </a:ext>
                </a:extLst>
              </p:cNvPr>
              <p:cNvGrpSpPr/>
              <p:nvPr/>
            </p:nvGrpSpPr>
            <p:grpSpPr>
              <a:xfrm>
                <a:off x="4140655" y="3575853"/>
                <a:ext cx="140991" cy="174230"/>
                <a:chOff x="3847372" y="1895474"/>
                <a:chExt cx="799685" cy="988219"/>
              </a:xfrm>
            </p:grpSpPr>
            <p:sp>
              <p:nvSpPr>
                <p:cNvPr id="106" name="Arrow: Chevron 105">
                  <a:extLst>
                    <a:ext uri="{FF2B5EF4-FFF2-40B4-BE49-F238E27FC236}">
                      <a16:creationId xmlns:a16="http://schemas.microsoft.com/office/drawing/2014/main" id="{01727B4E-CAAB-21A8-CC73-3DE81943D869}"/>
                    </a:ext>
                  </a:extLst>
                </p:cNvPr>
                <p:cNvSpPr/>
                <p:nvPr/>
              </p:nvSpPr>
              <p:spPr>
                <a:xfrm>
                  <a:off x="4162425" y="1895474"/>
                  <a:ext cx="484632" cy="988219"/>
                </a:xfrm>
                <a:prstGeom prst="chevron">
                  <a:avLst/>
                </a:prstGeom>
                <a:solidFill>
                  <a:schemeClr val="bg2">
                    <a:lumMod val="75000"/>
                  </a:schemeClr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07" name="Arrow: Chevron 106">
                  <a:extLst>
                    <a:ext uri="{FF2B5EF4-FFF2-40B4-BE49-F238E27FC236}">
                      <a16:creationId xmlns:a16="http://schemas.microsoft.com/office/drawing/2014/main" id="{33BEBA31-F8C6-4BF9-CF24-CC2C3B2192FF}"/>
                    </a:ext>
                  </a:extLst>
                </p:cNvPr>
                <p:cNvSpPr/>
                <p:nvPr/>
              </p:nvSpPr>
              <p:spPr>
                <a:xfrm>
                  <a:off x="3847372" y="1895474"/>
                  <a:ext cx="484632" cy="988219"/>
                </a:xfrm>
                <a:prstGeom prst="chevron">
                  <a:avLst/>
                </a:prstGeom>
                <a:solidFill>
                  <a:schemeClr val="bg1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</p:grpSp>
        </p:grp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DF7C4D94-F83C-BE17-1D37-9E073CE22349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4137811" y="4576425"/>
              <a:ext cx="0" cy="841711"/>
            </a:xfrm>
            <a:prstGeom prst="line">
              <a:avLst/>
            </a:prstGeom>
            <a:ln w="9525" cap="rnd">
              <a:gradFill flip="none" rotWithShape="1">
                <a:gsLst>
                  <a:gs pos="50000">
                    <a:srgbClr val="C5C5C5"/>
                  </a:gs>
                  <a:gs pos="0">
                    <a:srgbClr val="EEEAD8"/>
                  </a:gs>
                  <a:gs pos="100000">
                    <a:srgbClr val="A5A5A5"/>
                  </a:gs>
                </a:gsLst>
                <a:lin ang="16200000" scaled="1"/>
                <a:tileRect/>
              </a:gra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F5B97C7D-5D5A-02B7-4E42-76A5354CA76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849731" y="4576425"/>
              <a:ext cx="0" cy="841710"/>
            </a:xfrm>
            <a:prstGeom prst="line">
              <a:avLst/>
            </a:prstGeom>
            <a:ln w="9525" cap="rnd">
              <a:gradFill flip="none" rotWithShape="1">
                <a:gsLst>
                  <a:gs pos="50000">
                    <a:srgbClr val="C5C5C5"/>
                  </a:gs>
                  <a:gs pos="0">
                    <a:srgbClr val="EEEAD8"/>
                  </a:gs>
                  <a:gs pos="100000">
                    <a:srgbClr val="A5A5A5"/>
                  </a:gs>
                </a:gsLst>
                <a:lin ang="16200000" scaled="1"/>
                <a:tileRect/>
              </a:gra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DE68591D-3C8F-A529-4596-91FCB0095C93}"/>
              </a:ext>
            </a:extLst>
          </p:cNvPr>
          <p:cNvGrpSpPr/>
          <p:nvPr/>
        </p:nvGrpSpPr>
        <p:grpSpPr>
          <a:xfrm>
            <a:off x="7054214" y="4847384"/>
            <a:ext cx="2129790" cy="262297"/>
            <a:chOff x="2428876" y="4871356"/>
            <a:chExt cx="2129790" cy="262297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E9C8C270-66B3-03CA-B07F-802BFD499C50}"/>
                </a:ext>
              </a:extLst>
            </p:cNvPr>
            <p:cNvGrpSpPr/>
            <p:nvPr/>
          </p:nvGrpSpPr>
          <p:grpSpPr>
            <a:xfrm rot="5400000">
              <a:off x="3362623" y="4871356"/>
              <a:ext cx="262297" cy="262297"/>
              <a:chOff x="4040932" y="3505761"/>
              <a:chExt cx="314413" cy="314413"/>
            </a:xfrm>
          </p:grpSpPr>
          <p:sp>
            <p:nvSpPr>
              <p:cNvPr id="112" name="Oval 50">
                <a:extLst>
                  <a:ext uri="{FF2B5EF4-FFF2-40B4-BE49-F238E27FC236}">
                    <a16:creationId xmlns:a16="http://schemas.microsoft.com/office/drawing/2014/main" id="{027194FE-D2A4-0C53-484F-38F9378CE3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40932" y="3505761"/>
                <a:ext cx="314413" cy="314413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D0CFBA27-AEEA-8896-7492-F2AE03E71576}"/>
                  </a:ext>
                </a:extLst>
              </p:cNvPr>
              <p:cNvGrpSpPr/>
              <p:nvPr/>
            </p:nvGrpSpPr>
            <p:grpSpPr>
              <a:xfrm>
                <a:off x="4140655" y="3575853"/>
                <a:ext cx="140991" cy="174230"/>
                <a:chOff x="3847372" y="1895474"/>
                <a:chExt cx="799685" cy="988219"/>
              </a:xfrm>
            </p:grpSpPr>
            <p:sp>
              <p:nvSpPr>
                <p:cNvPr id="114" name="Arrow: Chevron 113">
                  <a:extLst>
                    <a:ext uri="{FF2B5EF4-FFF2-40B4-BE49-F238E27FC236}">
                      <a16:creationId xmlns:a16="http://schemas.microsoft.com/office/drawing/2014/main" id="{6A0DCC9D-CCEA-FB4C-6E35-FA87D5FF21F9}"/>
                    </a:ext>
                  </a:extLst>
                </p:cNvPr>
                <p:cNvSpPr/>
                <p:nvPr/>
              </p:nvSpPr>
              <p:spPr>
                <a:xfrm>
                  <a:off x="4162425" y="1895474"/>
                  <a:ext cx="484632" cy="988219"/>
                </a:xfrm>
                <a:prstGeom prst="chevron">
                  <a:avLst/>
                </a:prstGeom>
                <a:solidFill>
                  <a:schemeClr val="bg2">
                    <a:lumMod val="75000"/>
                  </a:schemeClr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15" name="Arrow: Chevron 114">
                  <a:extLst>
                    <a:ext uri="{FF2B5EF4-FFF2-40B4-BE49-F238E27FC236}">
                      <a16:creationId xmlns:a16="http://schemas.microsoft.com/office/drawing/2014/main" id="{A1D576EA-7500-654D-596C-A2359CD3B462}"/>
                    </a:ext>
                  </a:extLst>
                </p:cNvPr>
                <p:cNvSpPr/>
                <p:nvPr/>
              </p:nvSpPr>
              <p:spPr>
                <a:xfrm>
                  <a:off x="3847372" y="1895474"/>
                  <a:ext cx="484632" cy="988219"/>
                </a:xfrm>
                <a:prstGeom prst="chevron">
                  <a:avLst/>
                </a:prstGeom>
                <a:solidFill>
                  <a:schemeClr val="bg1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</p:grpSp>
        </p:grp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0993947-3689-57BC-7B25-8BB04913A719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4137811" y="4576425"/>
              <a:ext cx="0" cy="841711"/>
            </a:xfrm>
            <a:prstGeom prst="line">
              <a:avLst/>
            </a:prstGeom>
            <a:ln w="9525" cap="rnd">
              <a:gradFill flip="none" rotWithShape="1">
                <a:gsLst>
                  <a:gs pos="50000">
                    <a:srgbClr val="C5C5C5"/>
                  </a:gs>
                  <a:gs pos="0">
                    <a:srgbClr val="EEEAD8"/>
                  </a:gs>
                  <a:gs pos="100000">
                    <a:srgbClr val="A5A5A5"/>
                  </a:gs>
                </a:gsLst>
                <a:lin ang="16200000" scaled="1"/>
                <a:tileRect/>
              </a:gra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DD713288-83C7-C2D1-4D6C-73461C7E5E1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849731" y="4576425"/>
              <a:ext cx="0" cy="841710"/>
            </a:xfrm>
            <a:prstGeom prst="line">
              <a:avLst/>
            </a:prstGeom>
            <a:ln w="9525" cap="rnd">
              <a:gradFill flip="none" rotWithShape="1">
                <a:gsLst>
                  <a:gs pos="50000">
                    <a:srgbClr val="C5C5C5"/>
                  </a:gs>
                  <a:gs pos="0">
                    <a:srgbClr val="EEEAD8"/>
                  </a:gs>
                  <a:gs pos="100000">
                    <a:srgbClr val="A5A5A5"/>
                  </a:gs>
                </a:gsLst>
                <a:lin ang="16200000" scaled="1"/>
                <a:tileRect/>
              </a:gra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A9B077A2-DA55-FC93-E1BE-90743978E393}"/>
              </a:ext>
            </a:extLst>
          </p:cNvPr>
          <p:cNvGrpSpPr/>
          <p:nvPr/>
        </p:nvGrpSpPr>
        <p:grpSpPr>
          <a:xfrm>
            <a:off x="9366886" y="4847384"/>
            <a:ext cx="2129790" cy="262297"/>
            <a:chOff x="2428876" y="4871356"/>
            <a:chExt cx="2129790" cy="262297"/>
          </a:xfrm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FF25B95E-C3B2-6155-2A1F-5E79B0173D3B}"/>
                </a:ext>
              </a:extLst>
            </p:cNvPr>
            <p:cNvGrpSpPr/>
            <p:nvPr/>
          </p:nvGrpSpPr>
          <p:grpSpPr>
            <a:xfrm rot="5400000">
              <a:off x="3362623" y="4871356"/>
              <a:ext cx="262297" cy="262297"/>
              <a:chOff x="4040932" y="3505761"/>
              <a:chExt cx="314413" cy="314413"/>
            </a:xfrm>
          </p:grpSpPr>
          <p:sp>
            <p:nvSpPr>
              <p:cNvPr id="120" name="Oval 50">
                <a:extLst>
                  <a:ext uri="{FF2B5EF4-FFF2-40B4-BE49-F238E27FC236}">
                    <a16:creationId xmlns:a16="http://schemas.microsoft.com/office/drawing/2014/main" id="{6B2872E6-0600-DCC7-8988-D94A5719E5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40932" y="3505761"/>
                <a:ext cx="314413" cy="314413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1098C73F-A674-FEAF-54D5-05014C4910D2}"/>
                  </a:ext>
                </a:extLst>
              </p:cNvPr>
              <p:cNvGrpSpPr/>
              <p:nvPr/>
            </p:nvGrpSpPr>
            <p:grpSpPr>
              <a:xfrm>
                <a:off x="4140655" y="3575853"/>
                <a:ext cx="140991" cy="174230"/>
                <a:chOff x="3847372" y="1895474"/>
                <a:chExt cx="799685" cy="988219"/>
              </a:xfrm>
            </p:grpSpPr>
            <p:sp>
              <p:nvSpPr>
                <p:cNvPr id="122" name="Arrow: Chevron 121">
                  <a:extLst>
                    <a:ext uri="{FF2B5EF4-FFF2-40B4-BE49-F238E27FC236}">
                      <a16:creationId xmlns:a16="http://schemas.microsoft.com/office/drawing/2014/main" id="{4840102B-B0DD-5098-A86B-C0FBB02FB640}"/>
                    </a:ext>
                  </a:extLst>
                </p:cNvPr>
                <p:cNvSpPr/>
                <p:nvPr/>
              </p:nvSpPr>
              <p:spPr>
                <a:xfrm>
                  <a:off x="4162425" y="1895474"/>
                  <a:ext cx="484632" cy="988219"/>
                </a:xfrm>
                <a:prstGeom prst="chevron">
                  <a:avLst/>
                </a:prstGeom>
                <a:solidFill>
                  <a:schemeClr val="bg2">
                    <a:lumMod val="75000"/>
                  </a:schemeClr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23" name="Arrow: Chevron 122">
                  <a:extLst>
                    <a:ext uri="{FF2B5EF4-FFF2-40B4-BE49-F238E27FC236}">
                      <a16:creationId xmlns:a16="http://schemas.microsoft.com/office/drawing/2014/main" id="{F76F58CF-64F1-A8ED-5E2C-88AD0348A374}"/>
                    </a:ext>
                  </a:extLst>
                </p:cNvPr>
                <p:cNvSpPr/>
                <p:nvPr/>
              </p:nvSpPr>
              <p:spPr>
                <a:xfrm>
                  <a:off x="3847372" y="1895474"/>
                  <a:ext cx="484632" cy="988219"/>
                </a:xfrm>
                <a:prstGeom prst="chevron">
                  <a:avLst/>
                </a:prstGeom>
                <a:solidFill>
                  <a:schemeClr val="bg1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</p:grpSp>
        </p:grp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2DB8481E-BF9C-E96F-77B3-3CA702755F87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4137811" y="4576425"/>
              <a:ext cx="0" cy="841711"/>
            </a:xfrm>
            <a:prstGeom prst="line">
              <a:avLst/>
            </a:prstGeom>
            <a:ln w="9525" cap="rnd">
              <a:gradFill flip="none" rotWithShape="1">
                <a:gsLst>
                  <a:gs pos="50000">
                    <a:srgbClr val="C5C5C5"/>
                  </a:gs>
                  <a:gs pos="0">
                    <a:srgbClr val="EEEAD8"/>
                  </a:gs>
                  <a:gs pos="100000">
                    <a:srgbClr val="A5A5A5"/>
                  </a:gs>
                </a:gsLst>
                <a:lin ang="16200000" scaled="1"/>
                <a:tileRect/>
              </a:gra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E4133F6C-ADF6-759A-4957-090E7080FE0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849731" y="4576425"/>
              <a:ext cx="0" cy="841710"/>
            </a:xfrm>
            <a:prstGeom prst="line">
              <a:avLst/>
            </a:prstGeom>
            <a:ln w="9525" cap="rnd">
              <a:gradFill flip="none" rotWithShape="1">
                <a:gsLst>
                  <a:gs pos="50000">
                    <a:srgbClr val="C5C5C5"/>
                  </a:gs>
                  <a:gs pos="0">
                    <a:srgbClr val="EEEAD8"/>
                  </a:gs>
                  <a:gs pos="100000">
                    <a:srgbClr val="A5A5A5"/>
                  </a:gs>
                </a:gsLst>
                <a:lin ang="16200000" scaled="1"/>
                <a:tileRect/>
              </a:gra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A3554CE-C9F3-712D-24B1-EABD86D89B1E}"/>
              </a:ext>
            </a:extLst>
          </p:cNvPr>
          <p:cNvSpPr/>
          <p:nvPr/>
        </p:nvSpPr>
        <p:spPr>
          <a:xfrm>
            <a:off x="4614863" y="7066456"/>
            <a:ext cx="4972050" cy="941796"/>
          </a:xfrm>
          <a:prstGeom prst="rect">
            <a:avLst/>
          </a:prstGeom>
          <a:solidFill>
            <a:srgbClr val="2B398A"/>
          </a:solidFill>
          <a:ln w="9525" cap="rnd" cmpd="sng" algn="ctr">
            <a:solidFill>
              <a:srgbClr val="2B398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P2, fyi</a:t>
            </a:r>
          </a:p>
          <a:p>
            <a:pPr algn="ctr"/>
            <a:r>
              <a:rPr lang="en-US" sz="1200">
                <a:solidFill>
                  <a:srgbClr val="FFFFFF"/>
                </a:solidFill>
              </a:rPr>
              <a:t>No voice over nao deu pra pegar tudo pronto do markdown, dando exemplo tangível do que mudou (ex: estoque zero, ciclo de vida, noção de leakage de dados etc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F8A49C-F405-EEC0-A530-480E62164930}"/>
              </a:ext>
            </a:extLst>
          </p:cNvPr>
          <p:cNvSpPr/>
          <p:nvPr/>
        </p:nvSpPr>
        <p:spPr>
          <a:xfrm>
            <a:off x="-766030" y="7066456"/>
            <a:ext cx="4972050" cy="941796"/>
          </a:xfrm>
          <a:prstGeom prst="rect">
            <a:avLst/>
          </a:prstGeom>
          <a:solidFill>
            <a:srgbClr val="2B398A"/>
          </a:solidFill>
          <a:ln w="9525" cap="rnd" cmpd="sng" algn="ctr">
            <a:solidFill>
              <a:srgbClr val="2B398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creasing maintainability of the code, requested by the client + adding new relevant features to the model</a:t>
            </a: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66A4F08-0D20-F72A-2022-584FEC7B8A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5505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9" imgH="396" progId="TCLayout.ActiveDocument.1">
                  <p:embed/>
                </p:oleObj>
              </mc:Choice>
              <mc:Fallback>
                <p:oleObj name="think-cell Slide" r:id="rId8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6A4F08-0D20-F72A-2022-584FEC7B8A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6553763-25F7-41E1-E811-AED329FD4EA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5415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9" imgH="396" progId="TCLayout.ActiveDocument.1">
                  <p:embed/>
                </p:oleObj>
              </mc:Choice>
              <mc:Fallback>
                <p:oleObj name="think-cell Slide" r:id="rId10" imgW="389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553763-25F7-41E1-E811-AED329FD4E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72308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EE4P_MASTERWIZARD_MARGINS" val="0"/>
  <p:tag name="THINKCELLUNDODONOTDELETE" val="0"/>
  <p:tag name="EE4P_STYLE_NAME" val="C&amp;A Grid 16:9"/>
  <p:tag name="DECKSTER_PRESENTATION_ID" val="78ce875e-d4cc-4194-b631-af80e815a803"/>
  <p:tag name="THINKCELLPRESENTATIONDONOTDELETE" val="&lt;?xml version=&quot;1.0&quot; encoding=&quot;UTF-16&quot; standalone=&quot;yes&quot;?&gt;&lt;root reqver=&quot;28224&quot;&gt;&lt;version val=&quot;3578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8.33228183003334521572E+00&quot;&gt;&lt;m_msothmcolidx val=&quot;0&quot;/&gt;&lt;m_rgb r=&quot;2B&quot; g=&quot;BA&quot; b=&quot;74&quot;/&gt;&lt;/elem&gt;&lt;elem m_fUsage=&quot;4.51951624060964229912E-01&quot;&gt;&lt;m_msothmcolidx val=&quot;0&quot;/&gt;&lt;m_rgb r=&quot;D0&quot; g=&quot;00&quot; b=&quot;00&quot;/&gt;&lt;/elem&gt;&lt;/m_vecMRU&gt;&lt;/m_mruColor&gt;&lt;m_eweekdayFirstOfWeek val=&quot;1&quot;/&gt;&lt;m_eweekdayFirstOfWorkweek val=&quot;2&quot;/&gt;&lt;m_eweekdayFirstOfWeekend val=&quot;7&quot;/&gt;&lt;/CPresentation&gt;&lt;/root&gt;"/>
  <p:tag name="EE4P_STYLE_ID" val="ZnbfXOGd"/>
  <p:tag name="EE4P_MASTERWIZARD_DRAFT" val="1"/>
  <p:tag name="EE4P_AGENDAWIZARD" val="&lt;ee4p&gt;&#10;    &lt;layouts&gt;&#10;        &lt;layout name=&quot;Two-Thirds&quot; id=&quot;227_1-6&quot;&gt;&#10;            &lt;standard&gt;&#10;                &lt;textframe marginTop=&quot;0&quot; horizontalAnchor=&quot;1&quot; marginLeft=&quot;0&quot; marginBottom=&quot;0&quot; marginRight=&quot;0&quot; orientation=&quot;1&quot; verticalAnchor=&quot;1&quot;/&gt;&#10;                &lt;font bold=&quot;0&quot; name=&quot;Lato&quot; italic=&quot;0&quot; color=&quot;13&quot;/&gt;&#10;                &lt;paragraphformat lineRuleAfter=&quot;&quot; lineRuleBefore=&quot;&quot; leftIndent=&quot;0&quot; rightIndent=&quot;0&quot; firstLineIndent=&quot;0&quot; lineRuleWithin=&quot;&quot; spaceWithin=&quot;&quot; spaceBefore=&quot;&quot; spaceAfter=&quot;&quot;/&gt;&#10;                &lt;fill visible=&quot;0&quot;/&gt;&#10;                &lt;line visible=&quot;0&quot;/&gt;&#10;                &lt;bulletformat visible=&quot;0&quot;/&gt;&#10;            &lt;/standard&gt;&#10;            &lt;agenda createSingleAgendaSlide=&quot;1&quot; createSeparatingSlides=&quot;1&quot; subtitle=&quot;&quot; startItemNo=&quot;1&quot; fontSizeAuto=&quot;1&quot; title=&quot;&quot; createBackupSlide=&quot;1&quot; sizingModeId=&quot;1&quot; fontSize=&quot;24&quot; startTime=&quot;540&quot; name=&quot;&quot; timeFormatId=&quot;1&quot;/&gt;&#10;            &lt;columns&gt;&#10;                &lt;column checked=&quot;0&quot; rightSpacing=&quot;0&quot; fixedWidth=&quot;51.87527&quot; field=&quot;itemno&quot; label=&quot;No.&quot; leftSpacing=&quot;0&quot; dock=&quot;1&quot;/&gt;&#10;                &lt;column dock=&quot;1&quot; label=&quot;Topic&quot; leftSpacing=&quot;0&quot; field=&quot;topic&quot; rightDistribute=&quot;1&quot;/&gt;&#10;                &lt;column checked=&quot;0&quot; visible=&quot;0&quot; field=&quot;responsible&quot; label=&quot;Responsible&quot; leftSpacing=&quot;10&quot; rightDistribute=&quot;1&quot; dock=&quot;1&quot;/&gt;&#10;                &lt;column checked=&quot;0&quot; visible=&quot;0&quot; field=&quot;freecolumn&quot; label=&quot;&quot; leftSpacing=&quot;10&quot; rightDistribute=&quot;1&quot; dock=&quot;1&quot;/&gt;&#10;                &lt;column checked=&quot;0&quot; rightSpacing=&quot;0&quot; visible=&quot;1&quot; field=&quot;timeslot&quot; label=&quot;Time Slot&quot; leftSpacing=&quot;34&quot; dock=&quot;2&quot;/&gt;&#10;                &lt;column checked=&quot;0&quot; rightSpacing=&quot;0&quot; visible=&quot;0&quot; field=&quot;pageno&quot; label=&quot;Page No.&quot; leftSpacing=&quot;34&quot; dock=&quot;2&quot;/&gt;&#10;            &lt;/columns&gt;&#10;            &lt;position top=&quot;54.87496&quot; width=&quot;503.6943&quot; left=&quot;406.8057&quot; height=&quot;430.2501&quot;/&gt;&#10;            &lt;settings backupSlideTitle=&quot;Unused Slides&quot; allowedTimeFormatIds=&quot;1|2|3&quot; allowedLevels=&quot;2&quot; customLayoutName=&quot;Green one third|Presentation¦Green one third&quot; itemNoFormats=&quot;{1}¦{1}.{2}¦{3:alphaLC}¦{3:alphaLC}.{4:alphaLC}&quot; topMargin=&quot;0.5&quot; allowedFontSizes=&quot;8|9|10.5|11|12|14|16|18|20|22|24&quot; singleAgendaSlideSelected=&quot;1&quot; slideLayout=&quot;11&quot; customLayoutIndex=&quot;&quot; allowedSizingModeIds=&quot;1|2&quot; showBreak=&quot;0&quot; leftMargin=&quot;0&quot; titlePrompt=&quot;Insert Title&quot; customLayoutNameBackup=&quot;Special gray|Presentation¦Special gray&quot;/&gt;&#10;            &lt;cases&gt;&#10;                &lt;case single=&quot;1&quot; topMaxSpacing=&quot;15&quot; level=&quot;1&quot; bottomMinSpacing=&quot;0&quot; topMinSpacing=&quot;5&quot; break=&quot;0&quot; bottomMaxSpacing=&quot;0&quot;&gt;&#10;                    &lt;element field=&quot;topic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textframe marginLeft=&quot;0&quot;/&gt;&#10;                    &lt;/element&gt;&#10;                    &lt;element field=&quot;responsible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&lt;/element&gt;&#10;                    &lt;element field=&quot;freecolumn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&lt;/element&gt;&#10;                    &lt;element field=&quot;timeslot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&lt;/element&gt;&#10;                    &lt;element field=&quot;pageno&quot; type=&quot;autoshape&quot; autoShapeType=&quot;1&quot;&gt;&#10;                        &lt;paragraphformat alignment=&quot;3&quot;/&gt;&#10;                    &lt;/element&gt;&#10;                &lt;/case&gt;&#10;                &lt;case single=&quot;1&quot; topMaxSpacing=&quot;4&quot; level=&quot;2&quot; bottomMinSpacing=&quot;0&quot; topMinSpacing=&quot;4&quot; break=&quot;0&quot; bottomMaxSpacing=&quot;0&quot;&gt;&#10;                    &lt;element field=&quot;topic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textframe marginLeft=&quot;0&quot;/&gt;&#10;                        &lt;font relativeSize=&quot;0.75&quot;/&gt;&#10;                    &lt;/element&gt;&#10;                    &lt;element field=&quot;responsible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relativeSize=&quot;0.75&quot;/&gt;&#10;                    &lt;/element&gt;&#10;                    &lt;element field=&quot;freecolumn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relativeSize=&quot;0.75&quot;/&gt;&#10;                    &lt;/element&gt;&#10;                    &lt;element field=&quot;timeslot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relativeSize=&quot;0.75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relativeSize=&quot;0.75&quot;/&gt;&#10;                    &lt;/element&gt;&#10;                &lt;/case&gt;&#10;                &lt;case topMaxSpacing=&quot;15&quot; level=&quot;1&quot; selected=&quot;0&quot; bottomMinSpacing=&quot;0&quot; topMinSpacing=&quot;5&quot; break=&quot;0&quot; bottomMaxSpacing=&quot;0&quot;&gt;&#10;                    &lt;element field=&quot;topic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textframe marginLeft=&quot;0&quot;/&gt;&#10;                        &lt;font color=&quot;#9A9A9A&quot;/&gt;&#10;                    &lt;/element&gt;&#10;                    &lt;element field=&quot;responsible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color=&quot;#9A9A9A&quot;/&gt;&#10;                    &lt;/element&gt;&#10;                    &lt;element field=&quot;freecolumn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color=&quot;#9A9A9A&quot;/&gt;&#10;                    &lt;/element&gt;&#10;                    &lt;element field=&quot;timeslot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color=&quot;#9A9A9A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color=&quot;#9A9A9A&quot;/&gt;&#10;                    &lt;/element&gt;&#10;                &lt;/case&gt;&#10;                &lt;case topMaxSpacing=&quot;15&quot; level=&quot;1&quot; selected=&quot;1&quot; bottomMinSpacing=&quot;0&quot; topMinSpacing=&quot;5&quot; break=&quot;0&quot; bottomMaxSpacing=&quot;0&quot;&gt;&#10;                    &lt;element value=&quot;&quot; picture=&quot;rightbutton.emf&quot; slideType=&quot;20693&quot; type=&quot;picture&quot;&gt;&#10;                        &lt;position top=&quot;(itemHeight-23.04*scale*fontScale)/2&quot; width=&quot;23.08244*scale*fontScale&quot; left=&quot;-35.62*scale*fontScale&quot; height=&quot;23.04*scale*fontScale&quot;/&gt;&#10;                    &lt;/element&gt;&#10;                    &lt;element type=&quot;autoshape&quot; autoShapeType=&quot;9&quot;&gt;&#10;                        &lt;position top=&quot;(itemHeight-23.04*scale*fontScale)/2&quot; width=&quot;23.08244*scale*fontScale&quot; left=&quot;-35.62*scale*fontScale&quot; height=&quot;23.04*scale*fontScale&quot;/&gt;&#10;                        &lt;fill foreColor=&quot;15&quot; visible=&quot;1&quot;/&gt;&#10;                    &lt;/element&gt;&#10;                    &lt;element field=&quot;topic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textframe marginLeft=&quot;0&quot;/&gt;&#10;                    &lt;/element&gt;&#10;                    &lt;element field=&quot;responsible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&lt;/element&gt;&#10;                    &lt;element field=&quot;freecolumn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&lt;/element&gt;&#10;                    &lt;element field=&quot;timeslot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&lt;/element&gt;&#10;                    &lt;element field=&quot;pageno&quot; type=&quot;autoshape&quot; autoShapeType=&quot;1&quot;&gt;&#10;                        &lt;paragraphformat alignment=&quot;3&quot;/&gt;&#10;                    &lt;/element&gt;&#10;                &lt;/case&gt;&#10;                &lt;case topMaxSpacing=&quot;4&quot; level=&quot;2&quot; selected=&quot;0&quot; bottomMinSpacing=&quot;0&quot; topMinSpacing=&quot;4&quot; break=&quot;0&quot; bottomMaxSpacing=&quot;0&quot;&gt;&#10;                    &lt;element field=&quot;topic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textframe marginLeft=&quot;0&quot;/&gt;&#10;                        &lt;font color=&quot;#9A9A9A&quot; relativeSize=&quot;0.75&quot;/&gt;&#10;                    &lt;/element&gt;&#10;                    &lt;element field=&quot;responsible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color=&quot;#9A9A9A&quot; relativeSize=&quot;0.75&quot;/&gt;&#10;                    &lt;/element&gt;&#10;                    &lt;element field=&quot;freecolumn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color=&quot;#9A9A9A&quot; relativeSize=&quot;0.75&quot;/&gt;&#10;                    &lt;/element&gt;&#10;                    &lt;element field=&quot;timeslot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color=&quot;#9A9A9A&quot; relativeSize=&quot;0.75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color=&quot;#9A9A9A&quot; relativeSize=&quot;0.75&quot;/&gt;&#10;                    &lt;/element&gt;&#10;                &lt;/case&gt;&#10;                &lt;case topMaxSpacing=&quot;4&quot; level=&quot;2&quot; selected=&quot;1&quot; bottomMinSpacing=&quot;0&quot; topMinSpacing=&quot;4&quot; break=&quot;0&quot; bottomMaxSpacing=&quot;0&quot;&gt;&#10;                    &lt;element value=&quot;&quot; picture=&quot;rightbutton.emf&quot; slideType=&quot;20693&quot; type=&quot;picture&quot;&gt;&#10;                        &lt;position top=&quot;(itemHeight-23.04*scale*fontScale)/2&quot; width=&quot;23.08244*scale*fontScale&quot; left=&quot;-35.62*scale*fontScale&quot; height=&quot;23.04*scale*fontScale&quot;/&gt;&#10;                    &lt;/element&gt;&#10;                    &lt;element type=&quot;autoshape&quot; autoShapeType=&quot;9&quot;&gt;&#10;                        &lt;position top=&quot;(itemHeight-23.04*scale*fontScale)/2&quot; width=&quot;23.08244*scale*fontScale&quot; left=&quot;-35.62*scale*fontScale&quot; height=&quot;23.04*scale*fontScale&quot;/&gt;&#10;                        &lt;fill foreColor=&quot;15&quot; visible=&quot;1&quot;/&gt;&#10;                    &lt;/element&gt;&#10;                    &lt;element field=&quot;topic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textframe marginLeft=&quot;0&quot;/&gt;&#10;                        &lt;font relativeSize=&quot;0.75&quot;/&gt;&#10;                    &lt;/element&gt;&#10;                    &lt;element field=&quot;responsible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relativeSize=&quot;0.75&quot;/&gt;&#10;                    &lt;/element&gt;&#10;                    &lt;element field=&quot;freecolumn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relativeSize=&quot;0.75&quot;/&gt;&#10;                    &lt;/element&gt;&#10;                    &lt;element field=&quot;timeslot&quot; type=&quot;autoshape&quot; autoShapeType=&quot;1&quot;&gt;&#10;                        &lt;paragraphformat lineRuleAfter=&quot;0&quot; lineRuleBefore=&quot;0&quot; lineRuleWithin=&quot;1&quot; alignment=&quot;1&quot; spaceWithin=&quot;1.1&quot; spaceBefore=&quot;6&quot; spaceAfter=&quot;3&quot;/&gt;&#10;                        &lt;font relativeSize=&quot;0.75&quot;/&gt;&#10;                    &lt;/element&gt;&#10;                    &lt;element field=&quot;pageno&quot; type=&quot;autoshape&quot; autoShapeType=&quot;1&quot;&gt;&#10;                        &lt;paragraphformat alignment=&quot;3&quot;/&gt;&#10;                        &lt;font relativeSize=&quot;0.75&quot;/&gt;&#10;                    &lt;/element&gt;&#10;                &lt;/case&gt;&#10;            &lt;/cases&gt;&#10;            &lt;elements/&gt;&#10;        &lt;/layout&gt;&#10;    &lt;/layouts&gt;&#10;    &lt;contents&gt;&#10;        &lt;agenda createIndicators=&quot;0&quot; createSections=&quot;0&quot; createBackupSlide=&quot;1&quot; timeFormatId=&quot;1&quot; startItemNo=&quot;1&quot; fontSizeAuto=&quot;1&quot; subtitle=&quot;&quot; backupSlideId=&quot;20151cf2-bc23-473c-b769-cd469f2f1700&quot; backupSectionId=&quot;&quot; singleSlideId=&quot;8a26928e-ba7c-4a2f-98d5-4df360103dc2&quot; createSeparatingSlides=&quot;1&quot; sizingModeId=&quot;1&quot; fontSize=&quot;24&quot; startTime=&quot;540&quot; createSingleAgendaSlide=&quot;1&quot; name=&quot;&quot; layoutId=&quot;227_1-6&quot; title=&quot;Agenda&quot;&gt;&#10;            &lt;columns&gt;&#10;                &lt;column fixedWidth=&quot;51.87527000000001024&quot; label=&quot;No.&quot; leftSpacing=&quot;0&quot; rightSpacing=&quot;0&quot; dock=&quot;1&quot; checked=&quot;0&quot; field=&quot;itemno&quot;/&gt;&#10;                &lt;column label=&quot;Topic&quot; field=&quot;topic&quot; leftSpacing=&quot;0&quot; dock=&quot;1&quot; fixedWidth=&quot;0&quot; rightSpacing=&quot;313.605875317383&quot;/&gt;&#10;                &lt;column fixedWidth=&quot;0&quot; rightSpacing=&quot;0&quot; checked=&quot;0&quot; field=&quot;responsible&quot; dock=&quot;1&quot; label=&quot;Responsible&quot; leftSpacing=&quot;10&quot; visible=&quot;0&quot;/&gt;&#10;                &lt;column fixedWidth=&quot;0&quot; field=&quot;freecolumn&quot; rightSpacing=&quot;0&quot; dock=&quot;1&quot; label=&quot;&quot; visible=&quot;0&quot; checked=&quot;0&quot; leftSpacing=&quot;10&quot;/&gt;&#10;                &lt;column rightSpacing=&quot;0&quot; checked=&quot;0&quot; visible=&quot;1&quot; leftSpacing=&quot;34&quot; fixedWidth=&quot;0&quot; label=&quot;Time Slot&quot; dock=&quot;2&quot; field=&quot;timeslot&quot;/&gt;&#10;                &lt;column dock=&quot;2&quot; label=&quot;Page No.&quot; leftSpacing=&quot;34&quot; rightSpacing=&quot;0&quot; checked=&quot;0&quot; fixedWidth=&quot;0&quot; visible=&quot;0&quot; field=&quot;pageno&quot;/&gt;&#10;            &lt;/columns&gt;&#10;            &lt;items&gt;&#10;                &lt;item showAgendaItem=&quot;1&quot; duration=&quot;30&quot; level=&quot;1&quot; parentId=&quot;&quot; id=&quot;570162c4-4011-4b16-a75e-582c2b52b25f&quot; sectionId=&quot;&quot; generateAgendaSlide=&quot;1&quot; agendaSlideId=&quot;71437aed-7c85-499d-973b-4498fcc91662&quot; isBreak=&quot;0&quot; topic=&quot;Status Update&quot;/&gt;&#10;                &lt;item isBreak=&quot;0&quot; agendaSlideId=&quot;9c7182e5-de13-4ff1-8b14-6dc5ee01447d&quot; sectionId=&quot;&quot; parentId=&quot;&quot; duration=&quot;30&quot; generateAgendaSlide=&quot;1&quot; level=&quot;1&quot; showAgendaItem=&quot;1&quot; id=&quot;9d5bcc3c-93d0-4574-b7a5-24526b5154a6&quot; topic=&quot;Dynamic Pricing&quot;/&gt;&#10;                &lt;item sectionId=&quot;&quot; showAgendaItem=&quot;1&quot; agendaSlideId=&quot;f9915b6e-238a-43c2-b0d9-33cf091de0a4&quot; id=&quot;2383acaa-274a-4505-8fbd-f09adc50c5c6&quot; duration=&quot;30&quot; generateAgendaSlide=&quot;1&quot; topic=&quot;Markdown Model&quot; level=&quot;1&quot; isBreak=&quot;0&quot; parentId=&quot;&quot;/&gt;&#10;                &lt;item isBreak=&quot;0&quot; sectionId=&quot;&quot; generateAgendaSlide=&quot;1&quot; id=&quot;fc037265-9f5b-4a99-af7f-2cf7595725ec&quot; level=&quot;2&quot; topic=&quot;Forecasting&quot; duration=&quot;30&quot; agendaSlideId=&quot;f077bd76-1447-4ba1-993c-84464215a83b&quot; showAgendaItem=&quot;1&quot; parentId=&quot;2383acaa-274a-4505-8fbd-f09adc50c5c6&quot;/&gt;&#10;                &lt;item sectionId=&quot;&quot; parentId=&quot;2383acaa-274a-4505-8fbd-f09adc50c5c6&quot; showAgendaItem=&quot;1&quot; isBreak=&quot;0&quot; generateAgendaSlide=&quot;1&quot; topic=&quot;Elasticities&quot; duration=&quot;30&quot; agendaSlideId=&quot;ddde6bfc-d3ab-439d-867e-90629ffbd222&quot; id=&quot;458e5c79-f57b-439b-8b88-6d1f238230dd&quot; level=&quot;2&quot;/&gt;&#10;                &lt;item sectionId=&quot;&quot; level=&quot;1&quot; id=&quot;988d02ff-f27d-491d-87f5-66410e1614d0&quot; agendaSlideId=&quot;98456827-a8c6-4555-8254-954b910d4644&quot; generateAgendaSlide=&quot;1&quot; showAgendaItem=&quot;1&quot; isBreak=&quot;0&quot; topic=&quot;Optimization&quot; parentId=&quot;&quot; duration=&quot;30&quot;/&gt;&#10;                &lt;item sectionId=&quot;&quot; generateAgendaSlide=&quot;1&quot; duration=&quot;30&quot; agendaSlideId=&quot;d4b19f5e-1ad2-40a7-a876-3b27c3585ea8&quot; isBreak=&quot;0&quot; topic=&quot;Next Steps&quot; parentId=&quot;&quot; level=&quot;1&quot; showAgendaItem=&quot;1&quot; id=&quot;f5d00b85-9d9d-4e76-8d03-1f6aa175175b&quot;/&gt;&#10;            &lt;/items&gt;&#10;        &lt;/agenda&gt;&#10;    &lt;/contents&gt;&#10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&amp;A Grid 16:9 - 29066">
  <a:themeElements>
    <a:clrScheme name="Theme Color">
      <a:dk1>
        <a:srgbClr val="000000"/>
      </a:dk1>
      <a:lt1>
        <a:srgbClr val="FFFFFF"/>
      </a:lt1>
      <a:dk2>
        <a:srgbClr val="2B398A"/>
      </a:dk2>
      <a:lt2>
        <a:srgbClr val="EEEAD8"/>
      </a:lt2>
      <a:accent1>
        <a:srgbClr val="161D45"/>
      </a:accent1>
      <a:accent2>
        <a:srgbClr val="008EC8"/>
      </a:accent2>
      <a:accent3>
        <a:srgbClr val="DFCA51"/>
      </a:accent3>
      <a:accent4>
        <a:srgbClr val="B1D3FB"/>
      </a:accent4>
      <a:accent5>
        <a:srgbClr val="BEBEBE"/>
      </a:accent5>
      <a:accent6>
        <a:srgbClr val="F46C30"/>
      </a:accent6>
      <a:hlink>
        <a:srgbClr val="CA9F7F"/>
      </a:hlink>
      <a:folHlink>
        <a:srgbClr val="D16636"/>
      </a:folHlink>
    </a:clrScheme>
    <a:fontScheme name="Theme Font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B398A"/>
        </a:solidFill>
        <a:ln w="9525" cap="rnd" cmpd="sng" algn="ctr">
          <a:solidFill>
            <a:srgbClr val="2B398A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28ED988D-4779-4005-830E-61FDEDD65D03}">
  <we:reference id="1e02f4c4-fc90-4da1-8ab3-b26c44d971ec" version="2.2.0.0" store="EXCatalog" storeType="EXCatalog"/>
  <we:alternateReferences/>
  <we:properties>
    <we:property name="ClientColors" value="&quot;[\&quot;#000000\&quot;,\&quot;#2B398A\&quot;,\&quot;#161D45\&quot;,\&quot;#008EC8\&quot;,\&quot;#DFCA51\&quot;,\&quot;#B1D3FB\&quot;,\&quot;#BEBEBE\&quot;,\&quot;#F46C30\&quot;,\&quot;#008EC8\&quot;]&quot;"/>
    <we:property name="ThemeElements" value="&quot;{\&quot;colors\&quot;:[\&quot;#000000\&quot;,\&quot;#2B398A\&quot;,\&quot;#161D45\&quot;,\&quot;#008EC8\&quot;,\&quot;#DFCA51\&quot;,\&quot;#B1D3FB\&quot;,\&quot;#BEBEBE\&quot;,\&quot;#F46C30\&quot;,\&quot;#008EC8\&quot;],\&quot;fonts\&quot;:[\&quot;Lato\&quot;]}&quot;"/>
    <we:property name="ClientFonts" value="&quot;[\&quot;Lato\&quot;]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ff0f874-4684-465b-bb6b-daf64c8f9392" xsi:nil="true"/>
    <lcf76f155ced4ddcb4097134ff3c332f xmlns="cdb5aba9-ea0b-44d3-9995-d51112c429bd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1071E82E165C4C863DE6E458F36A8D" ma:contentTypeVersion="13" ma:contentTypeDescription="Create a new document." ma:contentTypeScope="" ma:versionID="324c7c315d768cb6d126cca241448bd0">
  <xsd:schema xmlns:xsd="http://www.w3.org/2001/XMLSchema" xmlns:xs="http://www.w3.org/2001/XMLSchema" xmlns:p="http://schemas.microsoft.com/office/2006/metadata/properties" xmlns:ns2="cdb5aba9-ea0b-44d3-9995-d51112c429bd" xmlns:ns3="cff0f874-4684-465b-bb6b-daf64c8f9392" targetNamespace="http://schemas.microsoft.com/office/2006/metadata/properties" ma:root="true" ma:fieldsID="e5b0d0ff98a97b1ac55e7959d8d78f98" ns2:_="" ns3:_="">
    <xsd:import namespace="cdb5aba9-ea0b-44d3-9995-d51112c429bd"/>
    <xsd:import namespace="cff0f874-4684-465b-bb6b-daf64c8f93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BillingMetadata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b5aba9-ea0b-44d3-9995-d51112c429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19" nillable="true" ma:displayName="MediaServiceBillingMetadata" ma:hidden="true" ma:internalName="MediaServiceBillingMetadata" ma:readOnly="true">
      <xsd:simpleType>
        <xsd:restriction base="dms:Note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f0f874-4684-465b-bb6b-daf64c8f9392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c9eea9cd-d2be-48d7-9ad7-846279c26fac}" ma:internalName="TaxCatchAll" ma:showField="CatchAllData" ma:web="cff0f874-4684-465b-bb6b-daf64c8f93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443504F-1A8F-405E-B3F0-46EF380BC65A}">
  <ds:schemaRefs>
    <ds:schemaRef ds:uri="cdb5aba9-ea0b-44d3-9995-d51112c429bd"/>
    <ds:schemaRef ds:uri="http://purl.org/dc/elements/1.1/"/>
    <ds:schemaRef ds:uri="http://schemas.microsoft.com/office/2006/metadata/properties"/>
    <ds:schemaRef ds:uri="http://www.w3.org/XML/1998/namespace"/>
    <ds:schemaRef ds:uri="cff0f874-4684-465b-bb6b-daf64c8f9392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5F7E405-1855-4A29-9B31-4F100FE7106A}">
  <ds:schemaRefs>
    <ds:schemaRef ds:uri="cdb5aba9-ea0b-44d3-9995-d51112c429bd"/>
    <ds:schemaRef ds:uri="cff0f874-4684-465b-bb6b-daf64c8f939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48745B0-3280-4696-8B41-7D001D0B60B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8</Words>
  <Application>Microsoft Macintosh PowerPoint</Application>
  <PresentationFormat>Widescreen</PresentationFormat>
  <Paragraphs>25</Paragraphs>
  <Slides>1</Slides>
  <Notes>1</Notes>
  <HiddenSlides>0</HiddenSlides>
  <MMClips>0</MMClips>
  <ScaleCrop>false</ScaleCrop>
  <HeadingPairs>
    <vt:vector size="10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  <vt:variant>
        <vt:lpstr>Custom Shows</vt:lpstr>
      </vt:variant>
      <vt:variant>
        <vt:i4>1</vt:i4>
      </vt:variant>
    </vt:vector>
  </HeadingPairs>
  <TitlesOfParts>
    <vt:vector size="7" baseType="lpstr">
      <vt:lpstr>Arial</vt:lpstr>
      <vt:lpstr>Lato</vt:lpstr>
      <vt:lpstr>Trebuchet MS</vt:lpstr>
      <vt:lpstr>C&amp;A Grid 16:9 - 29066</vt:lpstr>
      <vt:lpstr>think-cell Slide</vt:lpstr>
      <vt:lpstr>We started to build a comprehensive data–model pipeline, leveraging BCG’s markdown code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Fracaroli, Bruno</cp:lastModifiedBy>
  <cp:revision>2</cp:revision>
  <cp:lastPrinted>2000-01-01T02:00:00Z</cp:lastPrinted>
  <dcterms:created xsi:type="dcterms:W3CDTF">2025-09-01T11:26:01Z</dcterms:created>
  <dcterms:modified xsi:type="dcterms:W3CDTF">2025-10-24T12:2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5-09-01T11:26:10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a13135c0-0d30-466d-92b9-4e30274151b2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MSIP_Label_b0d5c4f4-7a29-4385-b7a5-afbe2154ae6f_Tag">
    <vt:lpwstr>10, 3, 0, 1</vt:lpwstr>
  </property>
  <property fmtid="{D5CDD505-2E9C-101B-9397-08002B2CF9AE}" pid="15" name="ContentTypeId">
    <vt:lpwstr>0x010100071071E82E165C4C863DE6E458F36A8D</vt:lpwstr>
  </property>
  <property fmtid="{D5CDD505-2E9C-101B-9397-08002B2CF9AE}" pid="16" name="MediaServiceImageTags">
    <vt:lpwstr/>
  </property>
</Properties>
</file>